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59" r:id="rId3"/>
    <p:sldId id="320" r:id="rId4"/>
    <p:sldId id="291" r:id="rId5"/>
    <p:sldId id="292" r:id="rId6"/>
    <p:sldId id="294" r:id="rId7"/>
    <p:sldId id="295" r:id="rId8"/>
    <p:sldId id="296" r:id="rId9"/>
    <p:sldId id="318" r:id="rId10"/>
    <p:sldId id="319" r:id="rId11"/>
    <p:sldId id="299" r:id="rId12"/>
    <p:sldId id="300" r:id="rId13"/>
    <p:sldId id="301" r:id="rId14"/>
    <p:sldId id="302" r:id="rId15"/>
    <p:sldId id="303" r:id="rId16"/>
    <p:sldId id="304" r:id="rId17"/>
    <p:sldId id="305" r:id="rId18"/>
    <p:sldId id="298" r:id="rId19"/>
    <p:sldId id="306" r:id="rId20"/>
    <p:sldId id="307" r:id="rId21"/>
    <p:sldId id="310" r:id="rId22"/>
    <p:sldId id="311" r:id="rId23"/>
    <p:sldId id="312" r:id="rId24"/>
    <p:sldId id="313" r:id="rId25"/>
    <p:sldId id="314" r:id="rId26"/>
    <p:sldId id="316" r:id="rId27"/>
    <p:sldId id="317" r:id="rId28"/>
    <p:sldId id="315" r:id="rId29"/>
  </p:sldIdLst>
  <p:sldSz cx="12192000" cy="6858000"/>
  <p:notesSz cx="6858000" cy="9144000"/>
  <p:custDataLst>
    <p:tags r:id="rId31"/>
  </p:custDataLst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9630C718-76FD-474A-AA8E-212126B028B8}">
          <p14:sldIdLst>
            <p14:sldId id="257"/>
            <p14:sldId id="259"/>
            <p14:sldId id="320"/>
            <p14:sldId id="291"/>
            <p14:sldId id="292"/>
            <p14:sldId id="294"/>
            <p14:sldId id="295"/>
            <p14:sldId id="296"/>
            <p14:sldId id="318"/>
            <p14:sldId id="319"/>
            <p14:sldId id="299"/>
            <p14:sldId id="300"/>
            <p14:sldId id="301"/>
            <p14:sldId id="302"/>
            <p14:sldId id="303"/>
            <p14:sldId id="304"/>
            <p14:sldId id="305"/>
            <p14:sldId id="298"/>
            <p14:sldId id="306"/>
            <p14:sldId id="307"/>
            <p14:sldId id="310"/>
            <p14:sldId id="311"/>
            <p14:sldId id="312"/>
          </p14:sldIdLst>
        </p14:section>
        <p14:section name="Back-up slides" id="{ADCA76FE-DE8B-407E-B196-57A1C68FF761}">
          <p14:sldIdLst>
            <p14:sldId id="313"/>
            <p14:sldId id="314"/>
            <p14:sldId id="316"/>
            <p14:sldId id="317"/>
            <p14:sldId id="3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ns d'Hondt" initials="Jd" lastIdx="1" clrIdx="0">
    <p:extLst>
      <p:ext uri="{19B8F6BF-5375-455C-9EA6-DF929625EA0E}">
        <p15:presenceInfo xmlns:p15="http://schemas.microsoft.com/office/powerpoint/2012/main" userId="Jens d'Hond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1919"/>
    <a:srgbClr val="E42828"/>
    <a:srgbClr val="ED7777"/>
    <a:srgbClr val="FCE8E8"/>
    <a:srgbClr val="ED7373"/>
    <a:srgbClr val="F9D3D3"/>
    <a:srgbClr val="5A5656"/>
    <a:srgbClr val="D9D9D9"/>
    <a:srgbClr val="9F9F9F"/>
    <a:srgbClr val="CD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3AED49-F44A-4C3E-9F9D-CB8B5C82F91C}" v="135" dt="2019-11-24T16:35:39.1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5673" autoAdjust="0"/>
  </p:normalViewPr>
  <p:slideViewPr>
    <p:cSldViewPr snapToGrid="0">
      <p:cViewPr varScale="1">
        <p:scale>
          <a:sx n="82" d="100"/>
          <a:sy n="82" d="100"/>
        </p:scale>
        <p:origin x="850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s d'Hondt" userId="b8ea12f2-3f99-4aec-ac38-9925f81da6e6" providerId="ADAL" clId="{F14DFA45-FE1D-45D8-A9CB-55FC652DC599}"/>
  </pc:docChgLst>
  <pc:docChgLst>
    <pc:chgData name="d'Hondt, J.E." userId="b8ea12f2-3f99-4aec-ac38-9925f81da6e6" providerId="ADAL" clId="{22E8BA58-B44D-41DB-A04D-1B0556A716B7}"/>
    <pc:docChg chg="modSld">
      <pc:chgData name="d'Hondt, J.E." userId="b8ea12f2-3f99-4aec-ac38-9925f81da6e6" providerId="ADAL" clId="{22E8BA58-B44D-41DB-A04D-1B0556A716B7}" dt="2019-10-12T10:03:49.544" v="0" actId="1038"/>
      <pc:docMkLst>
        <pc:docMk/>
      </pc:docMkLst>
      <pc:sldChg chg="modSp">
        <pc:chgData name="d'Hondt, J.E." userId="b8ea12f2-3f99-4aec-ac38-9925f81da6e6" providerId="ADAL" clId="{22E8BA58-B44D-41DB-A04D-1B0556A716B7}" dt="2019-10-12T10:03:49.544" v="0" actId="1038"/>
        <pc:sldMkLst>
          <pc:docMk/>
          <pc:sldMk cId="1961167861" sldId="295"/>
        </pc:sldMkLst>
        <pc:spChg chg="mod">
          <ac:chgData name="d'Hondt, J.E." userId="b8ea12f2-3f99-4aec-ac38-9925f81da6e6" providerId="ADAL" clId="{22E8BA58-B44D-41DB-A04D-1B0556A716B7}" dt="2019-10-12T10:03:49.544" v="0" actId="1038"/>
          <ac:spMkLst>
            <pc:docMk/>
            <pc:sldMk cId="1961167861" sldId="295"/>
            <ac:spMk id="3" creationId="{A91297BE-F906-4F5C-9AA4-0D87A17F2512}"/>
          </ac:spMkLst>
        </pc:spChg>
      </pc:sldChg>
    </pc:docChg>
  </pc:docChgLst>
  <pc:docChgLst>
    <pc:chgData name="d'Hondt, J.E." userId="b8ea12f2-3f99-4aec-ac38-9925f81da6e6" providerId="ADAL" clId="{F14DFA45-FE1D-45D8-A9CB-55FC652DC599}"/>
  </pc:docChgLst>
  <pc:docChgLst>
    <pc:chgData name="d'Hondt, J.E." userId="b8ea12f2-3f99-4aec-ac38-9925f81da6e6" providerId="ADAL" clId="{C1276BA3-A265-486B-9522-11E01F6D4E1C}"/>
    <pc:docChg chg="undo custSel addSld delSld modSld modSection">
      <pc:chgData name="d'Hondt, J.E." userId="b8ea12f2-3f99-4aec-ac38-9925f81da6e6" providerId="ADAL" clId="{C1276BA3-A265-486B-9522-11E01F6D4E1C}" dt="2019-10-22T09:23:38.971" v="81" actId="20577"/>
      <pc:docMkLst>
        <pc:docMk/>
      </pc:docMkLst>
      <pc:sldChg chg="modSp">
        <pc:chgData name="d'Hondt, J.E." userId="b8ea12f2-3f99-4aec-ac38-9925f81da6e6" providerId="ADAL" clId="{C1276BA3-A265-486B-9522-11E01F6D4E1C}" dt="2019-10-22T09:23:38.971" v="81" actId="20577"/>
        <pc:sldMkLst>
          <pc:docMk/>
          <pc:sldMk cId="270397929" sldId="257"/>
        </pc:sldMkLst>
        <pc:spChg chg="mod">
          <ac:chgData name="d'Hondt, J.E." userId="b8ea12f2-3f99-4aec-ac38-9925f81da6e6" providerId="ADAL" clId="{C1276BA3-A265-486B-9522-11E01F6D4E1C}" dt="2019-10-22T09:23:38.971" v="81" actId="20577"/>
          <ac:spMkLst>
            <pc:docMk/>
            <pc:sldMk cId="270397929" sldId="257"/>
            <ac:spMk id="8" creationId="{00000000-0000-0000-0000-000000000000}"/>
          </ac:spMkLst>
        </pc:spChg>
      </pc:sldChg>
      <pc:sldChg chg="modSp">
        <pc:chgData name="d'Hondt, J.E." userId="b8ea12f2-3f99-4aec-ac38-9925f81da6e6" providerId="ADAL" clId="{C1276BA3-A265-486B-9522-11E01F6D4E1C}" dt="2019-10-22T07:20:03.301" v="69" actId="20577"/>
        <pc:sldMkLst>
          <pc:docMk/>
          <pc:sldMk cId="2131259544" sldId="259"/>
        </pc:sldMkLst>
        <pc:spChg chg="mod">
          <ac:chgData name="d'Hondt, J.E." userId="b8ea12f2-3f99-4aec-ac38-9925f81da6e6" providerId="ADAL" clId="{C1276BA3-A265-486B-9522-11E01F6D4E1C}" dt="2019-10-22T07:19:09.890" v="50" actId="20577"/>
          <ac:spMkLst>
            <pc:docMk/>
            <pc:sldMk cId="2131259544" sldId="259"/>
            <ac:spMk id="109" creationId="{80134D2A-309D-4551-837F-21457EBA25AD}"/>
          </ac:spMkLst>
        </pc:spChg>
        <pc:spChg chg="mod">
          <ac:chgData name="d'Hondt, J.E." userId="b8ea12f2-3f99-4aec-ac38-9925f81da6e6" providerId="ADAL" clId="{C1276BA3-A265-486B-9522-11E01F6D4E1C}" dt="2019-10-22T07:19:57.462" v="65" actId="20577"/>
          <ac:spMkLst>
            <pc:docMk/>
            <pc:sldMk cId="2131259544" sldId="259"/>
            <ac:spMk id="110" creationId="{3AADC9DE-BA32-49BA-863F-E6D09EE5717A}"/>
          </ac:spMkLst>
        </pc:spChg>
        <pc:spChg chg="mod">
          <ac:chgData name="d'Hondt, J.E." userId="b8ea12f2-3f99-4aec-ac38-9925f81da6e6" providerId="ADAL" clId="{C1276BA3-A265-486B-9522-11E01F6D4E1C}" dt="2019-10-22T07:20:03.301" v="69" actId="20577"/>
          <ac:spMkLst>
            <pc:docMk/>
            <pc:sldMk cId="2131259544" sldId="259"/>
            <ac:spMk id="111" creationId="{C08F5720-2486-4E12-899D-303D38A6D602}"/>
          </ac:spMkLst>
        </pc:spChg>
        <pc:spChg chg="mod">
          <ac:chgData name="d'Hondt, J.E." userId="b8ea12f2-3f99-4aec-ac38-9925f81da6e6" providerId="ADAL" clId="{C1276BA3-A265-486B-9522-11E01F6D4E1C}" dt="2019-10-22T07:19:27.728" v="57" actId="20577"/>
          <ac:spMkLst>
            <pc:docMk/>
            <pc:sldMk cId="2131259544" sldId="259"/>
            <ac:spMk id="113" creationId="{B50F4C7E-12FE-411D-9DE4-5EA6035F193D}"/>
          </ac:spMkLst>
        </pc:spChg>
        <pc:spChg chg="mod">
          <ac:chgData name="d'Hondt, J.E." userId="b8ea12f2-3f99-4aec-ac38-9925f81da6e6" providerId="ADAL" clId="{C1276BA3-A265-486B-9522-11E01F6D4E1C}" dt="2019-10-22T07:19:22.344" v="53" actId="20577"/>
          <ac:spMkLst>
            <pc:docMk/>
            <pc:sldMk cId="2131259544" sldId="259"/>
            <ac:spMk id="114" creationId="{01FEE3A4-BD50-403F-8D31-273F9B309AE7}"/>
          </ac:spMkLst>
        </pc:spChg>
      </pc:sldChg>
      <pc:sldChg chg="addSp delSp modSp">
        <pc:chgData name="d'Hondt, J.E." userId="b8ea12f2-3f99-4aec-ac38-9925f81da6e6" providerId="ADAL" clId="{C1276BA3-A265-486B-9522-11E01F6D4E1C}" dt="2019-10-20T14:05:04.329" v="47" actId="12788"/>
        <pc:sldMkLst>
          <pc:docMk/>
          <pc:sldMk cId="1961167861" sldId="295"/>
        </pc:sldMkLst>
        <pc:spChg chg="mod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3" creationId="{A91297BE-F906-4F5C-9AA4-0D87A17F2512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29" creationId="{3846A8DD-8929-4765-BA58-26C714D970EE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30" creationId="{5AF435D8-DF31-45CC-9BAC-426185975EFA}"/>
          </ac:spMkLst>
        </pc:spChg>
        <pc:spChg chg="del mod topLvl">
          <ac:chgData name="d'Hondt, J.E." userId="b8ea12f2-3f99-4aec-ac38-9925f81da6e6" providerId="ADAL" clId="{C1276BA3-A265-486B-9522-11E01F6D4E1C}" dt="2019-10-20T14:04:07.338" v="2" actId="478"/>
          <ac:spMkLst>
            <pc:docMk/>
            <pc:sldMk cId="1961167861" sldId="295"/>
            <ac:spMk id="31" creationId="{1AF1BC6A-EE0D-41A1-B840-C40CCBAD27E1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32" creationId="{665873F0-AE4D-4DA4-BFB2-0F1E5721AD90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33" creationId="{F3F31EED-90AB-4F65-864D-759914D48374}"/>
          </ac:spMkLst>
        </pc:spChg>
        <pc:spChg chg="del mod topLvl">
          <ac:chgData name="d'Hondt, J.E." userId="b8ea12f2-3f99-4aec-ac38-9925f81da6e6" providerId="ADAL" clId="{C1276BA3-A265-486B-9522-11E01F6D4E1C}" dt="2019-10-20T14:04:08.514" v="4" actId="478"/>
          <ac:spMkLst>
            <pc:docMk/>
            <pc:sldMk cId="1961167861" sldId="295"/>
            <ac:spMk id="37" creationId="{A2488443-3301-4C97-B80E-934541E071F1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39" creationId="{370C1A8D-247B-45CF-9F7C-F51DB638B7EC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40" creationId="{C7035E73-C839-458B-A952-F53796318AC2}"/>
          </ac:spMkLst>
        </pc:spChg>
        <pc:spChg chg="del mod topLvl">
          <ac:chgData name="d'Hondt, J.E." userId="b8ea12f2-3f99-4aec-ac38-9925f81da6e6" providerId="ADAL" clId="{C1276BA3-A265-486B-9522-11E01F6D4E1C}" dt="2019-10-20T14:04:07.866" v="3" actId="478"/>
          <ac:spMkLst>
            <pc:docMk/>
            <pc:sldMk cId="1961167861" sldId="295"/>
            <ac:spMk id="41" creationId="{ADCFD442-5DB6-4C75-9477-80052A960D8B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42" creationId="{21E6D369-C034-4315-A95D-755A4B650AAE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43" creationId="{2E018048-80ED-453F-9947-BA0EE5D3C646}"/>
          </ac:spMkLst>
        </pc:spChg>
        <pc:spChg chg="del mod topLvl">
          <ac:chgData name="d'Hondt, J.E." userId="b8ea12f2-3f99-4aec-ac38-9925f81da6e6" providerId="ADAL" clId="{C1276BA3-A265-486B-9522-11E01F6D4E1C}" dt="2019-10-20T14:04:06.654" v="1" actId="478"/>
          <ac:spMkLst>
            <pc:docMk/>
            <pc:sldMk cId="1961167861" sldId="295"/>
            <ac:spMk id="45" creationId="{FEB66BB3-2A6C-4BCD-B4C2-DA505C798DF6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46" creationId="{FB2440E4-A089-4D1F-8D8E-A7D6A61D1057}"/>
          </ac:spMkLst>
        </pc:spChg>
        <pc:spChg chg="mod topLvl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47" creationId="{0E9A7677-9BF5-4164-9364-25365C27C064}"/>
          </ac:spMkLst>
        </pc:spChg>
        <pc:spChg chg="del mod topLvl">
          <ac:chgData name="d'Hondt, J.E." userId="b8ea12f2-3f99-4aec-ac38-9925f81da6e6" providerId="ADAL" clId="{C1276BA3-A265-486B-9522-11E01F6D4E1C}" dt="2019-10-20T14:04:11.515" v="7" actId="478"/>
          <ac:spMkLst>
            <pc:docMk/>
            <pc:sldMk cId="1961167861" sldId="295"/>
            <ac:spMk id="49" creationId="{4FABFA36-63BC-44AA-89FA-286FA67C989C}"/>
          </ac:spMkLst>
        </pc:spChg>
        <pc:spChg chg="mod">
          <ac:chgData name="d'Hondt, J.E." userId="b8ea12f2-3f99-4aec-ac38-9925f81da6e6" providerId="ADAL" clId="{C1276BA3-A265-486B-9522-11E01F6D4E1C}" dt="2019-10-20T14:04:53.253" v="40" actId="164"/>
          <ac:spMkLst>
            <pc:docMk/>
            <pc:sldMk cId="1961167861" sldId="295"/>
            <ac:spMk id="74" creationId="{4789CA5F-A655-4FB7-824B-1A16AFDA2B49}"/>
          </ac:spMkLst>
        </pc:spChg>
        <pc:spChg chg="del">
          <ac:chgData name="d'Hondt, J.E." userId="b8ea12f2-3f99-4aec-ac38-9925f81da6e6" providerId="ADAL" clId="{C1276BA3-A265-486B-9522-11E01F6D4E1C}" dt="2019-10-20T14:04:10.038" v="6" actId="478"/>
          <ac:spMkLst>
            <pc:docMk/>
            <pc:sldMk cId="1961167861" sldId="295"/>
            <ac:spMk id="75" creationId="{4A3F6ED7-04B5-4223-8EFE-881B425AF3D4}"/>
          </ac:spMkLst>
        </pc:spChg>
        <pc:grpChg chg="add mod">
          <ac:chgData name="d'Hondt, J.E." userId="b8ea12f2-3f99-4aec-ac38-9925f81da6e6" providerId="ADAL" clId="{C1276BA3-A265-486B-9522-11E01F6D4E1C}" dt="2019-10-20T14:05:04.329" v="47" actId="12788"/>
          <ac:grpSpMkLst>
            <pc:docMk/>
            <pc:sldMk cId="1961167861" sldId="295"/>
            <ac:grpSpMk id="4" creationId="{0E021223-557B-4514-B4A6-974B11AA664C}"/>
          </ac:grpSpMkLst>
        </pc:grpChg>
        <pc:grpChg chg="del">
          <ac:chgData name="d'Hondt, J.E." userId="b8ea12f2-3f99-4aec-ac38-9925f81da6e6" providerId="ADAL" clId="{C1276BA3-A265-486B-9522-11E01F6D4E1C}" dt="2019-10-20T14:04:02.287" v="0" actId="165"/>
          <ac:grpSpMkLst>
            <pc:docMk/>
            <pc:sldMk cId="1961167861" sldId="295"/>
            <ac:grpSpMk id="28" creationId="{8B75C7F4-70F2-46C3-89C4-71B90A153885}"/>
          </ac:grpSpMkLst>
        </pc:grpChg>
        <pc:grpChg chg="mod topLvl">
          <ac:chgData name="d'Hondt, J.E." userId="b8ea12f2-3f99-4aec-ac38-9925f81da6e6" providerId="ADAL" clId="{C1276BA3-A265-486B-9522-11E01F6D4E1C}" dt="2019-10-20T14:05:04.329" v="47" actId="12788"/>
          <ac:grpSpMkLst>
            <pc:docMk/>
            <pc:sldMk cId="1961167861" sldId="295"/>
            <ac:grpSpMk id="34" creationId="{FCD4CAEA-6096-4F16-A5E9-1A2F7EFE1A76}"/>
          </ac:grpSpMkLst>
        </pc:grpChg>
        <pc:grpChg chg="mod topLvl">
          <ac:chgData name="d'Hondt, J.E." userId="b8ea12f2-3f99-4aec-ac38-9925f81da6e6" providerId="ADAL" clId="{C1276BA3-A265-486B-9522-11E01F6D4E1C}" dt="2019-10-20T14:05:04.329" v="47" actId="12788"/>
          <ac:grpSpMkLst>
            <pc:docMk/>
            <pc:sldMk cId="1961167861" sldId="295"/>
            <ac:grpSpMk id="35" creationId="{B0F6E86D-442C-4B52-BA05-FF36A5A0098D}"/>
          </ac:grpSpMkLst>
        </pc:grpChg>
        <pc:grpChg chg="mod topLvl">
          <ac:chgData name="d'Hondt, J.E." userId="b8ea12f2-3f99-4aec-ac38-9925f81da6e6" providerId="ADAL" clId="{C1276BA3-A265-486B-9522-11E01F6D4E1C}" dt="2019-10-20T14:05:04.329" v="47" actId="12788"/>
          <ac:grpSpMkLst>
            <pc:docMk/>
            <pc:sldMk cId="1961167861" sldId="295"/>
            <ac:grpSpMk id="36" creationId="{996ACB38-0F7C-4E8C-BC91-C878CC10B350}"/>
          </ac:grpSpMkLst>
        </pc:grpChg>
        <pc:grpChg chg="del mod topLvl">
          <ac:chgData name="d'Hondt, J.E." userId="b8ea12f2-3f99-4aec-ac38-9925f81da6e6" providerId="ADAL" clId="{C1276BA3-A265-486B-9522-11E01F6D4E1C}" dt="2019-10-20T14:04:12.043" v="8" actId="478"/>
          <ac:grpSpMkLst>
            <pc:docMk/>
            <pc:sldMk cId="1961167861" sldId="295"/>
            <ac:grpSpMk id="38" creationId="{4E4C32EB-0D0B-4B11-92B4-F2AFA35988A7}"/>
          </ac:grpSpMkLst>
        </pc:grpChg>
      </pc:sldChg>
    </pc:docChg>
  </pc:docChgLst>
  <pc:docChgLst>
    <pc:chgData name="d'Hondt, J.E." userId="b8ea12f2-3f99-4aec-ac38-9925f81da6e6" providerId="ADAL" clId="{F43AED49-F44A-4C3E-9F9D-CB8B5C82F91C}"/>
    <pc:docChg chg="undo custSel addSld delSld modSld sldOrd modSection">
      <pc:chgData name="d'Hondt, J.E." userId="b8ea12f2-3f99-4aec-ac38-9925f81da6e6" providerId="ADAL" clId="{F43AED49-F44A-4C3E-9F9D-CB8B5C82F91C}" dt="2019-11-24T16:35:39.193" v="852" actId="164"/>
      <pc:docMkLst>
        <pc:docMk/>
      </pc:docMkLst>
      <pc:sldChg chg="addSp delSp modSp modTransition">
        <pc:chgData name="d'Hondt, J.E." userId="b8ea12f2-3f99-4aec-ac38-9925f81da6e6" providerId="ADAL" clId="{F43AED49-F44A-4C3E-9F9D-CB8B5C82F91C}" dt="2019-11-21T11:23:07.977" v="657"/>
        <pc:sldMkLst>
          <pc:docMk/>
          <pc:sldMk cId="2131259544" sldId="259"/>
        </pc:sldMkLst>
        <pc:spChg chg="mod">
          <ac:chgData name="d'Hondt, J.E." userId="b8ea12f2-3f99-4aec-ac38-9925f81da6e6" providerId="ADAL" clId="{F43AED49-F44A-4C3E-9F9D-CB8B5C82F91C}" dt="2019-11-19T09:26:32.099" v="436" actId="20577"/>
          <ac:spMkLst>
            <pc:docMk/>
            <pc:sldMk cId="2131259544" sldId="259"/>
            <ac:spMk id="5" creationId="{00000000-0000-0000-0000-000000000000}"/>
          </ac:spMkLst>
        </pc:spChg>
        <pc:spChg chg="mod">
          <ac:chgData name="d'Hondt, J.E." userId="b8ea12f2-3f99-4aec-ac38-9925f81da6e6" providerId="ADAL" clId="{F43AED49-F44A-4C3E-9F9D-CB8B5C82F91C}" dt="2019-11-19T09:27:36.673" v="452"/>
          <ac:spMkLst>
            <pc:docMk/>
            <pc:sldMk cId="2131259544" sldId="259"/>
            <ac:spMk id="7" creationId="{00000000-0000-0000-0000-000000000000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7" creationId="{60F02EBA-4122-4934-98BF-15F5435DB52D}"/>
          </ac:spMkLst>
        </pc:spChg>
        <pc:spChg chg="del">
          <ac:chgData name="d'Hondt, J.E." userId="b8ea12f2-3f99-4aec-ac38-9925f81da6e6" providerId="ADAL" clId="{F43AED49-F44A-4C3E-9F9D-CB8B5C82F91C}" dt="2019-11-19T09:09:29.842" v="24" actId="478"/>
          <ac:spMkLst>
            <pc:docMk/>
            <pc:sldMk cId="2131259544" sldId="259"/>
            <ac:spMk id="40" creationId="{46A5B2BA-B351-4BE9-A210-1EBA3C2879DB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42" creationId="{B2B3D2E6-B79F-4BA2-B42B-66F53BEC8068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43" creationId="{CD087D6D-0B27-473C-B014-F768432C0271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44" creationId="{97290A68-31F3-48CE-9BD1-7D277108B3BD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45" creationId="{0E6FD3D9-929B-4D1E-97EA-AEECC4038FE2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46" creationId="{112EACFB-F034-417E-B34F-521374177E4D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47" creationId="{38E1B7BF-5F23-43F4-AD71-BB5C4FA78922}"/>
          </ac:spMkLst>
        </pc:spChg>
        <pc:spChg chg="mod">
          <ac:chgData name="d'Hondt, J.E." userId="b8ea12f2-3f99-4aec-ac38-9925f81da6e6" providerId="ADAL" clId="{F43AED49-F44A-4C3E-9F9D-CB8B5C82F91C}" dt="2019-11-19T09:16:06.180" v="330" actId="14100"/>
          <ac:spMkLst>
            <pc:docMk/>
            <pc:sldMk cId="2131259544" sldId="259"/>
            <ac:spMk id="50" creationId="{11FFB885-91CE-4E78-AA7B-FFEA612EEE1B}"/>
          </ac:spMkLst>
        </pc:spChg>
        <pc:spChg chg="mod">
          <ac:chgData name="d'Hondt, J.E." userId="b8ea12f2-3f99-4aec-ac38-9925f81da6e6" providerId="ADAL" clId="{F43AED49-F44A-4C3E-9F9D-CB8B5C82F91C}" dt="2019-11-19T09:14:48.559" v="243" actId="113"/>
          <ac:spMkLst>
            <pc:docMk/>
            <pc:sldMk cId="2131259544" sldId="259"/>
            <ac:spMk id="55" creationId="{D76A69A6-FE3D-4687-B1DC-82142887BC4F}"/>
          </ac:spMkLst>
        </pc:spChg>
        <pc:spChg chg="mod">
          <ac:chgData name="d'Hondt, J.E." userId="b8ea12f2-3f99-4aec-ac38-9925f81da6e6" providerId="ADAL" clId="{F43AED49-F44A-4C3E-9F9D-CB8B5C82F91C}" dt="2019-11-19T09:17:33.983" v="377" actId="113"/>
          <ac:spMkLst>
            <pc:docMk/>
            <pc:sldMk cId="2131259544" sldId="259"/>
            <ac:spMk id="62" creationId="{B4849110-0616-4E4A-9355-994D0E4581F9}"/>
          </ac:spMkLst>
        </pc:spChg>
        <pc:spChg chg="add mod">
          <ac:chgData name="d'Hondt, J.E." userId="b8ea12f2-3f99-4aec-ac38-9925f81da6e6" providerId="ADAL" clId="{F43AED49-F44A-4C3E-9F9D-CB8B5C82F91C}" dt="2019-11-19T09:29:59.598" v="479"/>
          <ac:spMkLst>
            <pc:docMk/>
            <pc:sldMk cId="2131259544" sldId="259"/>
            <ac:spMk id="66" creationId="{DF365DAA-652F-43D5-9A4B-90CCE2DE3472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92" creationId="{9441233D-229D-4B05-9889-81BF50379F4E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94" creationId="{8F40A41E-72BC-4E94-A3FF-BE2F0876B6F0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96" creationId="{35ED5019-0A5C-4F25-8576-0EEB1405B8DC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04" creationId="{B04C482B-5F39-4758-802E-DC8FA674D5C9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09" creationId="{80134D2A-309D-4551-837F-21457EBA25AD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10" creationId="{3AADC9DE-BA32-49BA-863F-E6D09EE5717A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11" creationId="{C08F5720-2486-4E12-899D-303D38A6D602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12" creationId="{E8D90580-BA6A-4449-9D49-9CF37C45DD2D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13" creationId="{B50F4C7E-12FE-411D-9DE4-5EA6035F193D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14" creationId="{01FEE3A4-BD50-403F-8D31-273F9B309AE7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18" creationId="{8B32F099-2ACA-4C40-A24E-56BA40AFD190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19" creationId="{C2B70E04-4A3E-4C95-9E56-20F60505FF26}"/>
          </ac:spMkLst>
        </pc:spChg>
        <pc:spChg chg="del">
          <ac:chgData name="d'Hondt, J.E." userId="b8ea12f2-3f99-4aec-ac38-9925f81da6e6" providerId="ADAL" clId="{F43AED49-F44A-4C3E-9F9D-CB8B5C82F91C}" dt="2019-11-19T09:09:25.940" v="21" actId="478"/>
          <ac:spMkLst>
            <pc:docMk/>
            <pc:sldMk cId="2131259544" sldId="259"/>
            <ac:spMk id="120" creationId="{B5F4F278-F3E1-4BB4-BE45-A510B099EA29}"/>
          </ac:spMkLst>
        </pc:spChg>
        <pc:grpChg chg="del">
          <ac:chgData name="d'Hondt, J.E." userId="b8ea12f2-3f99-4aec-ac38-9925f81da6e6" providerId="ADAL" clId="{F43AED49-F44A-4C3E-9F9D-CB8B5C82F91C}" dt="2019-11-19T09:09:25.940" v="21" actId="478"/>
          <ac:grpSpMkLst>
            <pc:docMk/>
            <pc:sldMk cId="2131259544" sldId="259"/>
            <ac:grpSpMk id="19" creationId="{97D527FC-99ED-4608-9A9A-8F76167828DA}"/>
          </ac:grpSpMkLst>
        </pc:grpChg>
        <pc:grpChg chg="add mod">
          <ac:chgData name="d'Hondt, J.E." userId="b8ea12f2-3f99-4aec-ac38-9925f81da6e6" providerId="ADAL" clId="{F43AED49-F44A-4C3E-9F9D-CB8B5C82F91C}" dt="2019-11-19T09:16:02.432" v="329" actId="14100"/>
          <ac:grpSpMkLst>
            <pc:docMk/>
            <pc:sldMk cId="2131259544" sldId="259"/>
            <ac:grpSpMk id="48" creationId="{6657E544-C98A-4609-84AC-2A29A5F71A5A}"/>
          </ac:grpSpMkLst>
        </pc:grpChg>
        <pc:grpChg chg="add mod">
          <ac:chgData name="d'Hondt, J.E." userId="b8ea12f2-3f99-4aec-ac38-9925f81da6e6" providerId="ADAL" clId="{F43AED49-F44A-4C3E-9F9D-CB8B5C82F91C}" dt="2019-11-19T09:14:17.554" v="239" actId="14100"/>
          <ac:grpSpMkLst>
            <pc:docMk/>
            <pc:sldMk cId="2131259544" sldId="259"/>
            <ac:grpSpMk id="53" creationId="{063E0A15-1087-452F-BD3E-C2684E1198DA}"/>
          </ac:grpSpMkLst>
        </pc:grpChg>
        <pc:grpChg chg="add">
          <ac:chgData name="d'Hondt, J.E." userId="b8ea12f2-3f99-4aec-ac38-9925f81da6e6" providerId="ADAL" clId="{F43AED49-F44A-4C3E-9F9D-CB8B5C82F91C}" dt="2019-11-19T09:10:08.178" v="28"/>
          <ac:grpSpMkLst>
            <pc:docMk/>
            <pc:sldMk cId="2131259544" sldId="259"/>
            <ac:grpSpMk id="60" creationId="{7CD388BD-74D9-4C5F-8F41-213722CA9804}"/>
          </ac:grpSpMkLst>
        </pc:grpChg>
        <pc:grpChg chg="del">
          <ac:chgData name="d'Hondt, J.E." userId="b8ea12f2-3f99-4aec-ac38-9925f81da6e6" providerId="ADAL" clId="{F43AED49-F44A-4C3E-9F9D-CB8B5C82F91C}" dt="2019-11-19T09:09:25.940" v="21" actId="478"/>
          <ac:grpSpMkLst>
            <pc:docMk/>
            <pc:sldMk cId="2131259544" sldId="259"/>
            <ac:grpSpMk id="89" creationId="{93F27047-3583-4553-B90A-D9338437A224}"/>
          </ac:grpSpMkLst>
        </pc:grpChg>
        <pc:grpChg chg="del">
          <ac:chgData name="d'Hondt, J.E." userId="b8ea12f2-3f99-4aec-ac38-9925f81da6e6" providerId="ADAL" clId="{F43AED49-F44A-4C3E-9F9D-CB8B5C82F91C}" dt="2019-11-19T09:09:25.940" v="21" actId="478"/>
          <ac:grpSpMkLst>
            <pc:docMk/>
            <pc:sldMk cId="2131259544" sldId="259"/>
            <ac:grpSpMk id="97" creationId="{0748C64F-D6F5-4D96-A66B-931256E800DA}"/>
          </ac:grpSpMkLst>
        </pc:grpChg>
        <pc:grpChg chg="del">
          <ac:chgData name="d'Hondt, J.E." userId="b8ea12f2-3f99-4aec-ac38-9925f81da6e6" providerId="ADAL" clId="{F43AED49-F44A-4C3E-9F9D-CB8B5C82F91C}" dt="2019-11-19T09:09:25.940" v="21" actId="478"/>
          <ac:grpSpMkLst>
            <pc:docMk/>
            <pc:sldMk cId="2131259544" sldId="259"/>
            <ac:grpSpMk id="105" creationId="{DA8FF72E-06E3-4ADC-89C0-94762F4565A4}"/>
          </ac:grpSpMkLst>
        </pc:grpChg>
        <pc:grpChg chg="del">
          <ac:chgData name="d'Hondt, J.E." userId="b8ea12f2-3f99-4aec-ac38-9925f81da6e6" providerId="ADAL" clId="{F43AED49-F44A-4C3E-9F9D-CB8B5C82F91C}" dt="2019-11-19T09:09:25.940" v="21" actId="478"/>
          <ac:grpSpMkLst>
            <pc:docMk/>
            <pc:sldMk cId="2131259544" sldId="259"/>
            <ac:grpSpMk id="121" creationId="{A62125D3-E2BF-4961-A1B5-76590438D308}"/>
          </ac:grpSpMkLst>
        </pc:grpChg>
        <pc:picChg chg="add del mod">
          <ac:chgData name="d'Hondt, J.E." userId="b8ea12f2-3f99-4aec-ac38-9925f81da6e6" providerId="ADAL" clId="{F43AED49-F44A-4C3E-9F9D-CB8B5C82F91C}" dt="2019-11-19T09:22:12.151" v="384" actId="478"/>
          <ac:picMkLst>
            <pc:docMk/>
            <pc:sldMk cId="2131259544" sldId="259"/>
            <ac:picMk id="3" creationId="{60B8E349-92E0-4CEF-954B-ED18D89FDB6D}"/>
          </ac:picMkLst>
        </pc:picChg>
        <pc:picChg chg="add mod">
          <ac:chgData name="d'Hondt, J.E." userId="b8ea12f2-3f99-4aec-ac38-9925f81da6e6" providerId="ADAL" clId="{F43AED49-F44A-4C3E-9F9D-CB8B5C82F91C}" dt="2019-11-19T09:23:49.593" v="417" actId="1036"/>
          <ac:picMkLst>
            <pc:docMk/>
            <pc:sldMk cId="2131259544" sldId="259"/>
            <ac:picMk id="6" creationId="{6C723142-556F-4AFD-9FC0-C1599B93E1BC}"/>
          </ac:picMkLst>
        </pc:picChg>
        <pc:cxnChg chg="del mod">
          <ac:chgData name="d'Hondt, J.E." userId="b8ea12f2-3f99-4aec-ac38-9925f81da6e6" providerId="ADAL" clId="{F43AED49-F44A-4C3E-9F9D-CB8B5C82F91C}" dt="2019-11-19T09:09:27.995" v="23" actId="478"/>
          <ac:cxnSpMkLst>
            <pc:docMk/>
            <pc:sldMk cId="2131259544" sldId="259"/>
            <ac:cxnSpMk id="32" creationId="{D184FCE3-F5B1-4405-8E8A-A4B30AE58AED}"/>
          </ac:cxnSpMkLst>
        </pc:cxnChg>
        <pc:cxnChg chg="del">
          <ac:chgData name="d'Hondt, J.E." userId="b8ea12f2-3f99-4aec-ac38-9925f81da6e6" providerId="ADAL" clId="{F43AED49-F44A-4C3E-9F9D-CB8B5C82F91C}" dt="2019-11-19T09:09:25.940" v="21" actId="478"/>
          <ac:cxnSpMkLst>
            <pc:docMk/>
            <pc:sldMk cId="2131259544" sldId="259"/>
            <ac:cxnSpMk id="95" creationId="{A09E7E26-CB93-49A6-BB68-53DDBADB25D2}"/>
          </ac:cxnSpMkLst>
        </pc:cxnChg>
      </pc:sldChg>
      <pc:sldChg chg="modSp modTransition">
        <pc:chgData name="d'Hondt, J.E." userId="b8ea12f2-3f99-4aec-ac38-9925f81da6e6" providerId="ADAL" clId="{F43AED49-F44A-4C3E-9F9D-CB8B5C82F91C}" dt="2019-11-21T11:29:31.091" v="771" actId="14100"/>
        <pc:sldMkLst>
          <pc:docMk/>
          <pc:sldMk cId="4248514394" sldId="291"/>
        </pc:sldMkLst>
        <pc:spChg chg="mod">
          <ac:chgData name="d'Hondt, J.E." userId="b8ea12f2-3f99-4aec-ac38-9925f81da6e6" providerId="ADAL" clId="{F43AED49-F44A-4C3E-9F9D-CB8B5C82F91C}" dt="2019-11-21T11:29:31.091" v="771" actId="14100"/>
          <ac:spMkLst>
            <pc:docMk/>
            <pc:sldMk cId="4248514394" sldId="291"/>
            <ac:spMk id="64" creationId="{9941F6A4-AA73-423A-91B0-C23B94030F14}"/>
          </ac:spMkLst>
        </pc:spChg>
        <pc:spChg chg="mod">
          <ac:chgData name="d'Hondt, J.E." userId="b8ea12f2-3f99-4aec-ac38-9925f81da6e6" providerId="ADAL" clId="{F43AED49-F44A-4C3E-9F9D-CB8B5C82F91C}" dt="2019-11-21T11:29:31.091" v="771" actId="14100"/>
          <ac:spMkLst>
            <pc:docMk/>
            <pc:sldMk cId="4248514394" sldId="291"/>
            <ac:spMk id="65" creationId="{3139625C-F787-4164-92C3-E06201A8368C}"/>
          </ac:spMkLst>
        </pc:spChg>
        <pc:spChg chg="mod">
          <ac:chgData name="d'Hondt, J.E." userId="b8ea12f2-3f99-4aec-ac38-9925f81da6e6" providerId="ADAL" clId="{F43AED49-F44A-4C3E-9F9D-CB8B5C82F91C}" dt="2019-11-21T11:29:31.091" v="771" actId="14100"/>
          <ac:spMkLst>
            <pc:docMk/>
            <pc:sldMk cId="4248514394" sldId="291"/>
            <ac:spMk id="68" creationId="{04286355-08C0-4FA6-A3E1-E96FF1490FBD}"/>
          </ac:spMkLst>
        </pc:spChg>
        <pc:spChg chg="mod">
          <ac:chgData name="d'Hondt, J.E." userId="b8ea12f2-3f99-4aec-ac38-9925f81da6e6" providerId="ADAL" clId="{F43AED49-F44A-4C3E-9F9D-CB8B5C82F91C}" dt="2019-11-21T11:29:31.091" v="771" actId="14100"/>
          <ac:spMkLst>
            <pc:docMk/>
            <pc:sldMk cId="4248514394" sldId="291"/>
            <ac:spMk id="134" creationId="{2098B5D0-A8EF-4A90-A43F-AFE6BB35F523}"/>
          </ac:spMkLst>
        </pc:spChg>
        <pc:spChg chg="mod">
          <ac:chgData name="d'Hondt, J.E." userId="b8ea12f2-3f99-4aec-ac38-9925f81da6e6" providerId="ADAL" clId="{F43AED49-F44A-4C3E-9F9D-CB8B5C82F91C}" dt="2019-11-19T09:27:45.013" v="456" actId="20577"/>
          <ac:spMkLst>
            <pc:docMk/>
            <pc:sldMk cId="4248514394" sldId="291"/>
            <ac:spMk id="144" creationId="{D70619BF-8451-46F6-8EBC-7F4FEE8FEA16}"/>
          </ac:spMkLst>
        </pc:spChg>
      </pc:sldChg>
      <pc:sldChg chg="addSp modSp modTransition">
        <pc:chgData name="d'Hondt, J.E." userId="b8ea12f2-3f99-4aec-ac38-9925f81da6e6" providerId="ADAL" clId="{F43AED49-F44A-4C3E-9F9D-CB8B5C82F91C}" dt="2019-11-21T11:31:54.388" v="812" actId="403"/>
        <pc:sldMkLst>
          <pc:docMk/>
          <pc:sldMk cId="2666072448" sldId="292"/>
        </pc:sldMkLst>
        <pc:spChg chg="mod">
          <ac:chgData name="d'Hondt, J.E." userId="b8ea12f2-3f99-4aec-ac38-9925f81da6e6" providerId="ADAL" clId="{F43AED49-F44A-4C3E-9F9D-CB8B5C82F91C}" dt="2019-11-19T09:10:04.254" v="27" actId="1076"/>
          <ac:spMkLst>
            <pc:docMk/>
            <pc:sldMk cId="2666072448" sldId="292"/>
            <ac:spMk id="21" creationId="{00000000-0000-0000-0000-000000000000}"/>
          </ac:spMkLst>
        </pc:spChg>
        <pc:spChg chg="mod">
          <ac:chgData name="d'Hondt, J.E." userId="b8ea12f2-3f99-4aec-ac38-9925f81da6e6" providerId="ADAL" clId="{F43AED49-F44A-4C3E-9F9D-CB8B5C82F91C}" dt="2019-11-21T11:31:54.388" v="812" actId="403"/>
          <ac:spMkLst>
            <pc:docMk/>
            <pc:sldMk cId="2666072448" sldId="292"/>
            <ac:spMk id="44" creationId="{7D6EAE88-6997-45F1-90EB-CA12A788D523}"/>
          </ac:spMkLst>
        </pc:spChg>
        <pc:spChg chg="mod">
          <ac:chgData name="d'Hondt, J.E." userId="b8ea12f2-3f99-4aec-ac38-9925f81da6e6" providerId="ADAL" clId="{F43AED49-F44A-4C3E-9F9D-CB8B5C82F91C}" dt="2019-11-21T11:29:54.633" v="773" actId="403"/>
          <ac:spMkLst>
            <pc:docMk/>
            <pc:sldMk cId="2666072448" sldId="292"/>
            <ac:spMk id="48" creationId="{FC3D56CC-4363-4AF9-8E96-8E339BC53C8A}"/>
          </ac:spMkLst>
        </pc:spChg>
        <pc:spChg chg="mod">
          <ac:chgData name="d'Hondt, J.E." userId="b8ea12f2-3f99-4aec-ac38-9925f81da6e6" providerId="ADAL" clId="{F43AED49-F44A-4C3E-9F9D-CB8B5C82F91C}" dt="2019-11-21T11:30:24.270" v="778" actId="12789"/>
          <ac:spMkLst>
            <pc:docMk/>
            <pc:sldMk cId="2666072448" sldId="292"/>
            <ac:spMk id="57" creationId="{5C9683A5-CB64-4377-803F-45ACB0154E9E}"/>
          </ac:spMkLst>
        </pc:spChg>
        <pc:spChg chg="mod">
          <ac:chgData name="d'Hondt, J.E." userId="b8ea12f2-3f99-4aec-ac38-9925f81da6e6" providerId="ADAL" clId="{F43AED49-F44A-4C3E-9F9D-CB8B5C82F91C}" dt="2019-11-21T11:30:15.614" v="776" actId="12789"/>
          <ac:spMkLst>
            <pc:docMk/>
            <pc:sldMk cId="2666072448" sldId="292"/>
            <ac:spMk id="59" creationId="{5F0FB9DF-332F-4733-8817-8EF2016B319B}"/>
          </ac:spMkLst>
        </pc:spChg>
        <pc:spChg chg="add mod">
          <ac:chgData name="d'Hondt, J.E." userId="b8ea12f2-3f99-4aec-ac38-9925f81da6e6" providerId="ADAL" clId="{F43AED49-F44A-4C3E-9F9D-CB8B5C82F91C}" dt="2019-11-21T11:30:28.684" v="780" actId="571"/>
          <ac:spMkLst>
            <pc:docMk/>
            <pc:sldMk cId="2666072448" sldId="292"/>
            <ac:spMk id="141" creationId="{050E7139-27AA-4DBA-B34F-B32C14A8E65D}"/>
          </ac:spMkLst>
        </pc:spChg>
        <pc:spChg chg="mod">
          <ac:chgData name="d'Hondt, J.E." userId="b8ea12f2-3f99-4aec-ac38-9925f81da6e6" providerId="ADAL" clId="{F43AED49-F44A-4C3E-9F9D-CB8B5C82F91C}" dt="2019-11-19T09:27:51.174" v="458" actId="20577"/>
          <ac:spMkLst>
            <pc:docMk/>
            <pc:sldMk cId="2666072448" sldId="292"/>
            <ac:spMk id="315" creationId="{D9D9207D-A48F-4847-A872-364D1ABF4151}"/>
          </ac:spMkLst>
        </pc:spChg>
        <pc:grpChg chg="mod">
          <ac:chgData name="d'Hondt, J.E." userId="b8ea12f2-3f99-4aec-ac38-9925f81da6e6" providerId="ADAL" clId="{F43AED49-F44A-4C3E-9F9D-CB8B5C82F91C}" dt="2019-11-21T11:30:28.684" v="780" actId="571"/>
          <ac:grpSpMkLst>
            <pc:docMk/>
            <pc:sldMk cId="2666072448" sldId="292"/>
            <ac:grpSpMk id="6" creationId="{38CD91A5-D4CE-4CB5-8A7F-89DD87519C26}"/>
          </ac:grpSpMkLst>
        </pc:grpChg>
        <pc:grpChg chg="mod">
          <ac:chgData name="d'Hondt, J.E." userId="b8ea12f2-3f99-4aec-ac38-9925f81da6e6" providerId="ADAL" clId="{F43AED49-F44A-4C3E-9F9D-CB8B5C82F91C}" dt="2019-11-21T11:30:28.684" v="780" actId="571"/>
          <ac:grpSpMkLst>
            <pc:docMk/>
            <pc:sldMk cId="2666072448" sldId="292"/>
            <ac:grpSpMk id="56" creationId="{04753109-7078-4A58-88AE-7F61A6D59593}"/>
          </ac:grpSpMkLst>
        </pc:grpChg>
      </pc:sldChg>
      <pc:sldChg chg="modSp add del ord">
        <pc:chgData name="d'Hondt, J.E." userId="b8ea12f2-3f99-4aec-ac38-9925f81da6e6" providerId="ADAL" clId="{F43AED49-F44A-4C3E-9F9D-CB8B5C82F91C}" dt="2019-11-22T07:30:51.449" v="851"/>
        <pc:sldMkLst>
          <pc:docMk/>
          <pc:sldMk cId="4144720601" sldId="294"/>
        </pc:sldMkLst>
        <pc:spChg chg="mod">
          <ac:chgData name="d'Hondt, J.E." userId="b8ea12f2-3f99-4aec-ac38-9925f81da6e6" providerId="ADAL" clId="{F43AED49-F44A-4C3E-9F9D-CB8B5C82F91C}" dt="2019-11-19T09:28:16.774" v="462" actId="20577"/>
          <ac:spMkLst>
            <pc:docMk/>
            <pc:sldMk cId="4144720601" sldId="294"/>
            <ac:spMk id="144" creationId="{B774C152-DC0F-4AFF-9055-667B894F1BF0}"/>
          </ac:spMkLst>
        </pc:spChg>
        <pc:spChg chg="mod">
          <ac:chgData name="d'Hondt, J.E." userId="b8ea12f2-3f99-4aec-ac38-9925f81da6e6" providerId="ADAL" clId="{F43AED49-F44A-4C3E-9F9D-CB8B5C82F91C}" dt="2019-11-19T09:28:09.098" v="460" actId="20577"/>
          <ac:spMkLst>
            <pc:docMk/>
            <pc:sldMk cId="4144720601" sldId="294"/>
            <ac:spMk id="145" creationId="{E2D7D271-2BA4-4335-B084-3B698A59CE3A}"/>
          </ac:spMkLst>
        </pc:spChg>
      </pc:sldChg>
      <pc:sldChg chg="modTransition">
        <pc:chgData name="d'Hondt, J.E." userId="b8ea12f2-3f99-4aec-ac38-9925f81da6e6" providerId="ADAL" clId="{F43AED49-F44A-4C3E-9F9D-CB8B5C82F91C}" dt="2019-11-21T11:23:12.531" v="661"/>
        <pc:sldMkLst>
          <pc:docMk/>
          <pc:sldMk cId="1961167861" sldId="295"/>
        </pc:sldMkLst>
      </pc:sldChg>
      <pc:sldChg chg="modTransition">
        <pc:chgData name="d'Hondt, J.E." userId="b8ea12f2-3f99-4aec-ac38-9925f81da6e6" providerId="ADAL" clId="{F43AED49-F44A-4C3E-9F9D-CB8B5C82F91C}" dt="2019-11-21T11:23:13.525" v="662"/>
        <pc:sldMkLst>
          <pc:docMk/>
          <pc:sldMk cId="4241961606" sldId="296"/>
        </pc:sldMkLst>
      </pc:sldChg>
      <pc:sldChg chg="modTransition">
        <pc:chgData name="d'Hondt, J.E." userId="b8ea12f2-3f99-4aec-ac38-9925f81da6e6" providerId="ADAL" clId="{F43AED49-F44A-4C3E-9F9D-CB8B5C82F91C}" dt="2019-11-21T11:23:24.277" v="672"/>
        <pc:sldMkLst>
          <pc:docMk/>
          <pc:sldMk cId="2002841424" sldId="298"/>
        </pc:sldMkLst>
      </pc:sldChg>
      <pc:sldChg chg="addSp modSp modTransition">
        <pc:chgData name="d'Hondt, J.E." userId="b8ea12f2-3f99-4aec-ac38-9925f81da6e6" providerId="ADAL" clId="{F43AED49-F44A-4C3E-9F9D-CB8B5C82F91C}" dt="2019-11-24T16:35:39.193" v="852" actId="164"/>
        <pc:sldMkLst>
          <pc:docMk/>
          <pc:sldMk cId="4232611158" sldId="299"/>
        </pc:sldMkLst>
        <pc:grpChg chg="add mod">
          <ac:chgData name="d'Hondt, J.E." userId="b8ea12f2-3f99-4aec-ac38-9925f81da6e6" providerId="ADAL" clId="{F43AED49-F44A-4C3E-9F9D-CB8B5C82F91C}" dt="2019-11-24T16:35:39.193" v="852" actId="164"/>
          <ac:grpSpMkLst>
            <pc:docMk/>
            <pc:sldMk cId="4232611158" sldId="299"/>
            <ac:grpSpMk id="2" creationId="{7F273344-6048-47D8-A36C-CA7EEDADF392}"/>
          </ac:grpSpMkLst>
        </pc:grpChg>
        <pc:grpChg chg="mod">
          <ac:chgData name="d'Hondt, J.E." userId="b8ea12f2-3f99-4aec-ac38-9925f81da6e6" providerId="ADAL" clId="{F43AED49-F44A-4C3E-9F9D-CB8B5C82F91C}" dt="2019-11-24T16:35:39.193" v="852" actId="164"/>
          <ac:grpSpMkLst>
            <pc:docMk/>
            <pc:sldMk cId="4232611158" sldId="299"/>
            <ac:grpSpMk id="7" creationId="{54B014DD-7BB2-48D3-A006-4DA84D51171A}"/>
          </ac:grpSpMkLst>
        </pc:grpChg>
        <pc:grpChg chg="mod">
          <ac:chgData name="d'Hondt, J.E." userId="b8ea12f2-3f99-4aec-ac38-9925f81da6e6" providerId="ADAL" clId="{F43AED49-F44A-4C3E-9F9D-CB8B5C82F91C}" dt="2019-11-24T16:35:39.193" v="852" actId="164"/>
          <ac:grpSpMkLst>
            <pc:docMk/>
            <pc:sldMk cId="4232611158" sldId="299"/>
            <ac:grpSpMk id="13" creationId="{8495AE13-EEEA-4CB0-9C32-DFE988255A47}"/>
          </ac:grpSpMkLst>
        </pc:grpChg>
        <pc:grpChg chg="mod">
          <ac:chgData name="d'Hondt, J.E." userId="b8ea12f2-3f99-4aec-ac38-9925f81da6e6" providerId="ADAL" clId="{F43AED49-F44A-4C3E-9F9D-CB8B5C82F91C}" dt="2019-11-24T16:35:39.193" v="852" actId="164"/>
          <ac:grpSpMkLst>
            <pc:docMk/>
            <pc:sldMk cId="4232611158" sldId="299"/>
            <ac:grpSpMk id="107" creationId="{1A2F0473-AD01-4BA3-81E4-BDAE2B78ED7E}"/>
          </ac:grpSpMkLst>
        </pc:grpChg>
        <pc:grpChg chg="mod">
          <ac:chgData name="d'Hondt, J.E." userId="b8ea12f2-3f99-4aec-ac38-9925f81da6e6" providerId="ADAL" clId="{F43AED49-F44A-4C3E-9F9D-CB8B5C82F91C}" dt="2019-11-24T16:35:39.193" v="852" actId="164"/>
          <ac:grpSpMkLst>
            <pc:docMk/>
            <pc:sldMk cId="4232611158" sldId="299"/>
            <ac:grpSpMk id="110" creationId="{99BC571C-C2E6-4FD9-A6D8-F712204F0D4B}"/>
          </ac:grpSpMkLst>
        </pc:grpChg>
        <pc:grpChg chg="mod">
          <ac:chgData name="d'Hondt, J.E." userId="b8ea12f2-3f99-4aec-ac38-9925f81da6e6" providerId="ADAL" clId="{F43AED49-F44A-4C3E-9F9D-CB8B5C82F91C}" dt="2019-11-24T16:35:39.193" v="852" actId="164"/>
          <ac:grpSpMkLst>
            <pc:docMk/>
            <pc:sldMk cId="4232611158" sldId="299"/>
            <ac:grpSpMk id="113" creationId="{5BDC3BD2-F957-4F94-8E7B-922BC5F5B559}"/>
          </ac:grpSpMkLst>
        </pc:grpChg>
        <pc:grpChg chg="mod">
          <ac:chgData name="d'Hondt, J.E." userId="b8ea12f2-3f99-4aec-ac38-9925f81da6e6" providerId="ADAL" clId="{F43AED49-F44A-4C3E-9F9D-CB8B5C82F91C}" dt="2019-11-24T16:35:39.193" v="852" actId="164"/>
          <ac:grpSpMkLst>
            <pc:docMk/>
            <pc:sldMk cId="4232611158" sldId="299"/>
            <ac:grpSpMk id="116" creationId="{0C8E647C-39AB-4F7C-B452-F2A33E5104BB}"/>
          </ac:grpSpMkLst>
        </pc:grpChg>
      </pc:sldChg>
      <pc:sldChg chg="modTransition">
        <pc:chgData name="d'Hondt, J.E." userId="b8ea12f2-3f99-4aec-ac38-9925f81da6e6" providerId="ADAL" clId="{F43AED49-F44A-4C3E-9F9D-CB8B5C82F91C}" dt="2019-11-21T11:23:17.763" v="666"/>
        <pc:sldMkLst>
          <pc:docMk/>
          <pc:sldMk cId="688167888" sldId="300"/>
        </pc:sldMkLst>
      </pc:sldChg>
      <pc:sldChg chg="modTransition">
        <pc:chgData name="d'Hondt, J.E." userId="b8ea12f2-3f99-4aec-ac38-9925f81da6e6" providerId="ADAL" clId="{F43AED49-F44A-4C3E-9F9D-CB8B5C82F91C}" dt="2019-11-21T11:23:19.010" v="667"/>
        <pc:sldMkLst>
          <pc:docMk/>
          <pc:sldMk cId="1118647549" sldId="301"/>
        </pc:sldMkLst>
      </pc:sldChg>
      <pc:sldChg chg="modTransition">
        <pc:chgData name="d'Hondt, J.E." userId="b8ea12f2-3f99-4aec-ac38-9925f81da6e6" providerId="ADAL" clId="{F43AED49-F44A-4C3E-9F9D-CB8B5C82F91C}" dt="2019-11-21T11:23:20.191" v="668"/>
        <pc:sldMkLst>
          <pc:docMk/>
          <pc:sldMk cId="3667084626" sldId="302"/>
        </pc:sldMkLst>
      </pc:sldChg>
      <pc:sldChg chg="modTransition">
        <pc:chgData name="d'Hondt, J.E." userId="b8ea12f2-3f99-4aec-ac38-9925f81da6e6" providerId="ADAL" clId="{F43AED49-F44A-4C3E-9F9D-CB8B5C82F91C}" dt="2019-11-21T11:23:21.028" v="669"/>
        <pc:sldMkLst>
          <pc:docMk/>
          <pc:sldMk cId="925546224" sldId="303"/>
        </pc:sldMkLst>
      </pc:sldChg>
      <pc:sldChg chg="modTransition">
        <pc:chgData name="d'Hondt, J.E." userId="b8ea12f2-3f99-4aec-ac38-9925f81da6e6" providerId="ADAL" clId="{F43AED49-F44A-4C3E-9F9D-CB8B5C82F91C}" dt="2019-11-21T11:23:22.243" v="670"/>
        <pc:sldMkLst>
          <pc:docMk/>
          <pc:sldMk cId="2655926018" sldId="304"/>
        </pc:sldMkLst>
      </pc:sldChg>
      <pc:sldChg chg="modTransition">
        <pc:chgData name="d'Hondt, J.E." userId="b8ea12f2-3f99-4aec-ac38-9925f81da6e6" providerId="ADAL" clId="{F43AED49-F44A-4C3E-9F9D-CB8B5C82F91C}" dt="2019-11-21T11:23:23.284" v="671"/>
        <pc:sldMkLst>
          <pc:docMk/>
          <pc:sldMk cId="1981559595" sldId="305"/>
        </pc:sldMkLst>
      </pc:sldChg>
      <pc:sldChg chg="modTransition">
        <pc:chgData name="d'Hondt, J.E." userId="b8ea12f2-3f99-4aec-ac38-9925f81da6e6" providerId="ADAL" clId="{F43AED49-F44A-4C3E-9F9D-CB8B5C82F91C}" dt="2019-11-21T11:23:25.256" v="673"/>
        <pc:sldMkLst>
          <pc:docMk/>
          <pc:sldMk cId="2711542072" sldId="306"/>
        </pc:sldMkLst>
      </pc:sldChg>
      <pc:sldChg chg="modSp modTransition">
        <pc:chgData name="d'Hondt, J.E." userId="b8ea12f2-3f99-4aec-ac38-9925f81da6e6" providerId="ADAL" clId="{F43AED49-F44A-4C3E-9F9D-CB8B5C82F91C}" dt="2019-11-21T11:58:49.771" v="846" actId="20577"/>
        <pc:sldMkLst>
          <pc:docMk/>
          <pc:sldMk cId="3966148906" sldId="307"/>
        </pc:sldMkLst>
        <pc:spChg chg="mod">
          <ac:chgData name="d'Hondt, J.E." userId="b8ea12f2-3f99-4aec-ac38-9925f81da6e6" providerId="ADAL" clId="{F43AED49-F44A-4C3E-9F9D-CB8B5C82F91C}" dt="2019-11-21T11:58:42.806" v="842" actId="20577"/>
          <ac:spMkLst>
            <pc:docMk/>
            <pc:sldMk cId="3966148906" sldId="307"/>
            <ac:spMk id="50" creationId="{28FF04D4-749E-475F-B494-27A78F0DC2CD}"/>
          </ac:spMkLst>
        </pc:spChg>
        <pc:spChg chg="mod">
          <ac:chgData name="d'Hondt, J.E." userId="b8ea12f2-3f99-4aec-ac38-9925f81da6e6" providerId="ADAL" clId="{F43AED49-F44A-4C3E-9F9D-CB8B5C82F91C}" dt="2019-11-21T11:58:49.771" v="846" actId="20577"/>
          <ac:spMkLst>
            <pc:docMk/>
            <pc:sldMk cId="3966148906" sldId="307"/>
            <ac:spMk id="52" creationId="{B653D48B-03BD-46F5-B3E7-0C066428C3F4}"/>
          </ac:spMkLst>
        </pc:spChg>
      </pc:sldChg>
      <pc:sldChg chg="modTransition">
        <pc:chgData name="d'Hondt, J.E." userId="b8ea12f2-3f99-4aec-ac38-9925f81da6e6" providerId="ADAL" clId="{F43AED49-F44A-4C3E-9F9D-CB8B5C82F91C}" dt="2019-11-21T11:23:27.341" v="675"/>
        <pc:sldMkLst>
          <pc:docMk/>
          <pc:sldMk cId="3767428177" sldId="310"/>
        </pc:sldMkLst>
      </pc:sldChg>
      <pc:sldChg chg="modSp modTransition">
        <pc:chgData name="d'Hondt, J.E." userId="b8ea12f2-3f99-4aec-ac38-9925f81da6e6" providerId="ADAL" clId="{F43AED49-F44A-4C3E-9F9D-CB8B5C82F91C}" dt="2019-11-21T11:23:31.927" v="681"/>
        <pc:sldMkLst>
          <pc:docMk/>
          <pc:sldMk cId="1613169934" sldId="311"/>
        </pc:sldMkLst>
        <pc:spChg chg="mod">
          <ac:chgData name="d'Hondt, J.E." userId="b8ea12f2-3f99-4aec-ac38-9925f81da6e6" providerId="ADAL" clId="{F43AED49-F44A-4C3E-9F9D-CB8B5C82F91C}" dt="2019-11-21T11:08:05.973" v="488" actId="20577"/>
          <ac:spMkLst>
            <pc:docMk/>
            <pc:sldMk cId="1613169934" sldId="311"/>
            <ac:spMk id="37" creationId="{9B512A7E-FB49-46F6-946B-4E2A1960E128}"/>
          </ac:spMkLst>
        </pc:spChg>
      </pc:sldChg>
      <pc:sldChg chg="addSp modSp modTransition">
        <pc:chgData name="d'Hondt, J.E." userId="b8ea12f2-3f99-4aec-ac38-9925f81da6e6" providerId="ADAL" clId="{F43AED49-F44A-4C3E-9F9D-CB8B5C82F91C}" dt="2019-11-21T12:04:58.899" v="850" actId="207"/>
        <pc:sldMkLst>
          <pc:docMk/>
          <pc:sldMk cId="1106352358" sldId="312"/>
        </pc:sldMkLst>
        <pc:spChg chg="add mod">
          <ac:chgData name="d'Hondt, J.E." userId="b8ea12f2-3f99-4aec-ac38-9925f81da6e6" providerId="ADAL" clId="{F43AED49-F44A-4C3E-9F9D-CB8B5C82F91C}" dt="2019-11-21T12:04:58.899" v="850" actId="207"/>
          <ac:spMkLst>
            <pc:docMk/>
            <pc:sldMk cId="1106352358" sldId="312"/>
            <ac:spMk id="22" creationId="{D04D3C5F-33CA-43F5-90FE-833F2C86FAAD}"/>
          </ac:spMkLst>
        </pc:spChg>
        <pc:spChg chg="mod">
          <ac:chgData name="d'Hondt, J.E." userId="b8ea12f2-3f99-4aec-ac38-9925f81da6e6" providerId="ADAL" clId="{F43AED49-F44A-4C3E-9F9D-CB8B5C82F91C}" dt="2019-11-21T11:16:58.066" v="572" actId="1076"/>
          <ac:spMkLst>
            <pc:docMk/>
            <pc:sldMk cId="1106352358" sldId="312"/>
            <ac:spMk id="41" creationId="{5382D1B3-6D1B-4567-B073-B5A8FE4FCB14}"/>
          </ac:spMkLst>
        </pc:spChg>
      </pc:sldChg>
      <pc:sldChg chg="modSp modTransition">
        <pc:chgData name="d'Hondt, J.E." userId="b8ea12f2-3f99-4aec-ac38-9925f81da6e6" providerId="ADAL" clId="{F43AED49-F44A-4C3E-9F9D-CB8B5C82F91C}" dt="2019-11-21T11:40:19.636" v="814" actId="20577"/>
        <pc:sldMkLst>
          <pc:docMk/>
          <pc:sldMk cId="1616382992" sldId="318"/>
        </pc:sldMkLst>
        <pc:spChg chg="mod">
          <ac:chgData name="d'Hondt, J.E." userId="b8ea12f2-3f99-4aec-ac38-9925f81da6e6" providerId="ADAL" clId="{F43AED49-F44A-4C3E-9F9D-CB8B5C82F91C}" dt="2019-11-21T11:31:50.848" v="803" actId="403"/>
          <ac:spMkLst>
            <pc:docMk/>
            <pc:sldMk cId="1616382992" sldId="318"/>
            <ac:spMk id="44" creationId="{7D6EAE88-6997-45F1-90EB-CA12A788D523}"/>
          </ac:spMkLst>
        </pc:spChg>
        <pc:spChg chg="mod">
          <ac:chgData name="d'Hondt, J.E." userId="b8ea12f2-3f99-4aec-ac38-9925f81da6e6" providerId="ADAL" clId="{F43AED49-F44A-4C3E-9F9D-CB8B5C82F91C}" dt="2019-11-21T11:31:53.374" v="810" actId="403"/>
          <ac:spMkLst>
            <pc:docMk/>
            <pc:sldMk cId="1616382992" sldId="318"/>
            <ac:spMk id="48" creationId="{FC3D56CC-4363-4AF9-8E96-8E339BC53C8A}"/>
          </ac:spMkLst>
        </pc:spChg>
        <pc:spChg chg="mod">
          <ac:chgData name="d'Hondt, J.E." userId="b8ea12f2-3f99-4aec-ac38-9925f81da6e6" providerId="ADAL" clId="{F43AED49-F44A-4C3E-9F9D-CB8B5C82F91C}" dt="2019-11-21T11:31:53.845" v="811" actId="403"/>
          <ac:spMkLst>
            <pc:docMk/>
            <pc:sldMk cId="1616382992" sldId="318"/>
            <ac:spMk id="57" creationId="{5C9683A5-CB64-4377-803F-45ACB0154E9E}"/>
          </ac:spMkLst>
        </pc:spChg>
        <pc:spChg chg="mod">
          <ac:chgData name="d'Hondt, J.E." userId="b8ea12f2-3f99-4aec-ac38-9925f81da6e6" providerId="ADAL" clId="{F43AED49-F44A-4C3E-9F9D-CB8B5C82F91C}" dt="2019-11-21T11:40:19.636" v="814" actId="20577"/>
          <ac:spMkLst>
            <pc:docMk/>
            <pc:sldMk cId="1616382992" sldId="318"/>
            <ac:spMk id="94" creationId="{AA1FEC0D-FF7E-41E6-BEAF-60BFE8765CC2}"/>
          </ac:spMkLst>
        </pc:spChg>
        <pc:grpChg chg="mod">
          <ac:chgData name="d'Hondt, J.E." userId="b8ea12f2-3f99-4aec-ac38-9925f81da6e6" providerId="ADAL" clId="{F43AED49-F44A-4C3E-9F9D-CB8B5C82F91C}" dt="2019-11-21T11:31:52.925" v="809" actId="14100"/>
          <ac:grpSpMkLst>
            <pc:docMk/>
            <pc:sldMk cId="1616382992" sldId="318"/>
            <ac:grpSpMk id="8" creationId="{0BCB3E69-208B-434E-9AB6-F70038F94C2C}"/>
          </ac:grpSpMkLst>
        </pc:grpChg>
      </pc:sldChg>
      <pc:sldChg chg="modSp modTransition">
        <pc:chgData name="d'Hondt, J.E." userId="b8ea12f2-3f99-4aec-ac38-9925f81da6e6" providerId="ADAL" clId="{F43AED49-F44A-4C3E-9F9D-CB8B5C82F91C}" dt="2019-11-21T11:31:49.922" v="800" actId="403"/>
        <pc:sldMkLst>
          <pc:docMk/>
          <pc:sldMk cId="337809610" sldId="319"/>
        </pc:sldMkLst>
        <pc:spChg chg="mod">
          <ac:chgData name="d'Hondt, J.E." userId="b8ea12f2-3f99-4aec-ac38-9925f81da6e6" providerId="ADAL" clId="{F43AED49-F44A-4C3E-9F9D-CB8B5C82F91C}" dt="2019-11-21T11:31:49.543" v="798" actId="403"/>
          <ac:spMkLst>
            <pc:docMk/>
            <pc:sldMk cId="337809610" sldId="319"/>
            <ac:spMk id="44" creationId="{7D6EAE88-6997-45F1-90EB-CA12A788D523}"/>
          </ac:spMkLst>
        </pc:spChg>
        <pc:spChg chg="mod">
          <ac:chgData name="d'Hondt, J.E." userId="b8ea12f2-3f99-4aec-ac38-9925f81da6e6" providerId="ADAL" clId="{F43AED49-F44A-4C3E-9F9D-CB8B5C82F91C}" dt="2019-11-21T11:31:49.736" v="799" actId="403"/>
          <ac:spMkLst>
            <pc:docMk/>
            <pc:sldMk cId="337809610" sldId="319"/>
            <ac:spMk id="48" creationId="{FC3D56CC-4363-4AF9-8E96-8E339BC53C8A}"/>
          </ac:spMkLst>
        </pc:spChg>
        <pc:spChg chg="mod">
          <ac:chgData name="d'Hondt, J.E." userId="b8ea12f2-3f99-4aec-ac38-9925f81da6e6" providerId="ADAL" clId="{F43AED49-F44A-4C3E-9F9D-CB8B5C82F91C}" dt="2019-11-21T11:31:49.922" v="800" actId="403"/>
          <ac:spMkLst>
            <pc:docMk/>
            <pc:sldMk cId="337809610" sldId="319"/>
            <ac:spMk id="57" creationId="{5C9683A5-CB64-4377-803F-45ACB0154E9E}"/>
          </ac:spMkLst>
        </pc:spChg>
        <pc:spChg chg="mod">
          <ac:chgData name="d'Hondt, J.E." userId="b8ea12f2-3f99-4aec-ac38-9925f81da6e6" providerId="ADAL" clId="{F43AED49-F44A-4C3E-9F9D-CB8B5C82F91C}" dt="2019-11-21T09:57:22.049" v="482" actId="313"/>
          <ac:spMkLst>
            <pc:docMk/>
            <pc:sldMk cId="337809610" sldId="319"/>
            <ac:spMk id="94" creationId="{AA1FEC0D-FF7E-41E6-BEAF-60BFE8765CC2}"/>
          </ac:spMkLst>
        </pc:spChg>
      </pc:sldChg>
      <pc:sldChg chg="add modTransition">
        <pc:chgData name="d'Hondt, J.E." userId="b8ea12f2-3f99-4aec-ac38-9925f81da6e6" providerId="ADAL" clId="{F43AED49-F44A-4C3E-9F9D-CB8B5C82F91C}" dt="2019-11-21T11:23:09.200" v="658"/>
        <pc:sldMkLst>
          <pc:docMk/>
          <pc:sldMk cId="210909282" sldId="32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 dirty="0">
                <a:effectLst/>
              </a:rPr>
              <a:t>λ optimization</a:t>
            </a:r>
            <a:endParaRPr lang="en-NL" b="1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>
        <c:manualLayout>
          <c:layoutTarget val="inner"/>
          <c:xMode val="edge"/>
          <c:yMode val="edge"/>
          <c:x val="0.21315641690594755"/>
          <c:y val="0.21624855685242686"/>
          <c:w val="0.75625795702467757"/>
          <c:h val="0.41574992483290246"/>
        </c:manualLayout>
      </c:layout>
      <c:lineChart>
        <c:grouping val="standar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σ = 0,8</c:v>
                </c:pt>
              </c:strCache>
            </c:strRef>
          </c:tx>
          <c:spPr>
            <a:ln w="28575" cap="rnd">
              <a:solidFill>
                <a:srgbClr val="F6B8B8"/>
              </a:solidFill>
              <a:round/>
            </a:ln>
            <a:effectLst/>
          </c:spPr>
          <c:marker>
            <c:symbol val="none"/>
          </c:marker>
          <c:cat>
            <c:numRef>
              <c:f>Blad1!$A$2:$A$11</c:f>
              <c:numCache>
                <c:formatCode>General</c:formatCode>
                <c:ptCount val="10"/>
                <c:pt idx="0">
                  <c:v>0.05</c:v>
                </c:pt>
                <c:pt idx="1">
                  <c:v>7.7777777780000001E-2</c:v>
                </c:pt>
                <c:pt idx="2">
                  <c:v>0.10555556000000001</c:v>
                </c:pt>
                <c:pt idx="3">
                  <c:v>0.13</c:v>
                </c:pt>
                <c:pt idx="4">
                  <c:v>0.16111111111000001</c:v>
                </c:pt>
                <c:pt idx="5">
                  <c:v>0.18888888888899999</c:v>
                </c:pt>
                <c:pt idx="6">
                  <c:v>0.22</c:v>
                </c:pt>
                <c:pt idx="7">
                  <c:v>0.24444444444444399</c:v>
                </c:pt>
                <c:pt idx="8">
                  <c:v>0.27222222222222198</c:v>
                </c:pt>
                <c:pt idx="9">
                  <c:v>0.3</c:v>
                </c:pt>
              </c:numCache>
            </c:numRef>
          </c:cat>
          <c:val>
            <c:numRef>
              <c:f>Blad1!$B$2:$B$11</c:f>
              <c:numCache>
                <c:formatCode>General</c:formatCode>
                <c:ptCount val="10"/>
                <c:pt idx="0">
                  <c:v>5.8999999999999997E-2</c:v>
                </c:pt>
                <c:pt idx="1">
                  <c:v>4.9000000000000002E-2</c:v>
                </c:pt>
                <c:pt idx="2">
                  <c:v>5.1999999999999998E-2</c:v>
                </c:pt>
                <c:pt idx="3">
                  <c:v>5.5E-2</c:v>
                </c:pt>
                <c:pt idx="4">
                  <c:v>5.1999999999999998E-2</c:v>
                </c:pt>
                <c:pt idx="5">
                  <c:v>5.1999999999999998E-2</c:v>
                </c:pt>
                <c:pt idx="6">
                  <c:v>4.4999999999999998E-2</c:v>
                </c:pt>
                <c:pt idx="7">
                  <c:v>4.4999999999999998E-2</c:v>
                </c:pt>
                <c:pt idx="8">
                  <c:v>0.05</c:v>
                </c:pt>
                <c:pt idx="9">
                  <c:v>0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775-4732-B294-AEE90C4A205A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σ = 1,2</c:v>
                </c:pt>
              </c:strCache>
            </c:strRef>
          </c:tx>
          <c:spPr>
            <a:ln w="28575" cap="rnd">
              <a:solidFill>
                <a:srgbClr val="C81919"/>
              </a:solidFill>
              <a:round/>
            </a:ln>
            <a:effectLst/>
          </c:spPr>
          <c:marker>
            <c:symbol val="none"/>
          </c:marker>
          <c:cat>
            <c:numRef>
              <c:f>Blad1!$A$2:$A$11</c:f>
              <c:numCache>
                <c:formatCode>General</c:formatCode>
                <c:ptCount val="10"/>
                <c:pt idx="0">
                  <c:v>0.05</c:v>
                </c:pt>
                <c:pt idx="1">
                  <c:v>7.7777777780000001E-2</c:v>
                </c:pt>
                <c:pt idx="2">
                  <c:v>0.10555556000000001</c:v>
                </c:pt>
                <c:pt idx="3">
                  <c:v>0.13</c:v>
                </c:pt>
                <c:pt idx="4">
                  <c:v>0.16111111111000001</c:v>
                </c:pt>
                <c:pt idx="5">
                  <c:v>0.18888888888899999</c:v>
                </c:pt>
                <c:pt idx="6">
                  <c:v>0.22</c:v>
                </c:pt>
                <c:pt idx="7">
                  <c:v>0.24444444444444399</c:v>
                </c:pt>
                <c:pt idx="8">
                  <c:v>0.27222222222222198</c:v>
                </c:pt>
                <c:pt idx="9">
                  <c:v>0.3</c:v>
                </c:pt>
              </c:numCache>
            </c:numRef>
          </c:cat>
          <c:val>
            <c:numRef>
              <c:f>Blad1!$C$2:$C$11</c:f>
              <c:numCache>
                <c:formatCode>General</c:formatCode>
                <c:ptCount val="10"/>
                <c:pt idx="0">
                  <c:v>7.8E-2</c:v>
                </c:pt>
                <c:pt idx="1">
                  <c:v>8.2000000000000003E-2</c:v>
                </c:pt>
                <c:pt idx="2">
                  <c:v>0.08</c:v>
                </c:pt>
                <c:pt idx="3">
                  <c:v>8.1000000000000003E-2</c:v>
                </c:pt>
                <c:pt idx="4">
                  <c:v>7.8E-2</c:v>
                </c:pt>
                <c:pt idx="5">
                  <c:v>7.9000000000000001E-2</c:v>
                </c:pt>
                <c:pt idx="6">
                  <c:v>8.1000000000000003E-2</c:v>
                </c:pt>
                <c:pt idx="7">
                  <c:v>7.5999999999999998E-2</c:v>
                </c:pt>
                <c:pt idx="8">
                  <c:v>7.8E-2</c:v>
                </c:pt>
                <c:pt idx="9">
                  <c:v>7.6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775-4732-B294-AEE90C4A205A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σ = 1,6</c:v>
                </c:pt>
              </c:strCache>
            </c:strRef>
          </c:tx>
          <c:spPr>
            <a:ln w="28575" cap="rnd">
              <a:solidFill>
                <a:srgbClr val="3B3838"/>
              </a:solidFill>
              <a:round/>
            </a:ln>
            <a:effectLst/>
          </c:spPr>
          <c:marker>
            <c:symbol val="none"/>
          </c:marker>
          <c:cat>
            <c:numRef>
              <c:f>Blad1!$A$2:$A$11</c:f>
              <c:numCache>
                <c:formatCode>General</c:formatCode>
                <c:ptCount val="10"/>
                <c:pt idx="0">
                  <c:v>0.05</c:v>
                </c:pt>
                <c:pt idx="1">
                  <c:v>7.7777777780000001E-2</c:v>
                </c:pt>
                <c:pt idx="2">
                  <c:v>0.10555556000000001</c:v>
                </c:pt>
                <c:pt idx="3">
                  <c:v>0.13</c:v>
                </c:pt>
                <c:pt idx="4">
                  <c:v>0.16111111111000001</c:v>
                </c:pt>
                <c:pt idx="5">
                  <c:v>0.18888888888899999</c:v>
                </c:pt>
                <c:pt idx="6">
                  <c:v>0.22</c:v>
                </c:pt>
                <c:pt idx="7">
                  <c:v>0.24444444444444399</c:v>
                </c:pt>
                <c:pt idx="8">
                  <c:v>0.27222222222222198</c:v>
                </c:pt>
                <c:pt idx="9">
                  <c:v>0.3</c:v>
                </c:pt>
              </c:numCache>
            </c:numRef>
          </c:cat>
          <c:val>
            <c:numRef>
              <c:f>Blad1!$D$2:$D$11</c:f>
              <c:numCache>
                <c:formatCode>General</c:formatCode>
                <c:ptCount val="10"/>
                <c:pt idx="0">
                  <c:v>9.8000000000000004E-2</c:v>
                </c:pt>
                <c:pt idx="1">
                  <c:v>0.109</c:v>
                </c:pt>
                <c:pt idx="2">
                  <c:v>0.108</c:v>
                </c:pt>
                <c:pt idx="3">
                  <c:v>0.109</c:v>
                </c:pt>
                <c:pt idx="4">
                  <c:v>0.11600000000000001</c:v>
                </c:pt>
                <c:pt idx="5">
                  <c:v>0.1205</c:v>
                </c:pt>
                <c:pt idx="6">
                  <c:v>0.112</c:v>
                </c:pt>
                <c:pt idx="7">
                  <c:v>0.121</c:v>
                </c:pt>
                <c:pt idx="8">
                  <c:v>0.108</c:v>
                </c:pt>
                <c:pt idx="9">
                  <c:v>0.117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75-4732-B294-AEE90C4A20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3955152"/>
        <c:axId val="859562640"/>
      </c:lineChart>
      <c:catAx>
        <c:axId val="4039551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330" b="0" i="0" u="none" strike="noStrike" kern="1200" baseline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0" i="0" baseline="0" dirty="0">
                    <a:effectLst/>
                  </a:rPr>
                  <a:t>λ</a:t>
                </a:r>
                <a:endParaRPr lang="en-NL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48618926323875084"/>
              <c:y val="0.7268512752956285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30" b="0" i="0" u="none" strike="noStrike" kern="120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859562640"/>
        <c:crosses val="autoZero"/>
        <c:auto val="1"/>
        <c:lblAlgn val="ctr"/>
        <c:lblOffset val="100"/>
        <c:tickLblSkip val="3"/>
        <c:noMultiLvlLbl val="0"/>
      </c:catAx>
      <c:valAx>
        <c:axId val="859562640"/>
        <c:scaling>
          <c:orientation val="minMax"/>
          <c:max val="0.13"/>
          <c:min val="4.0000000000000008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baseline="0" dirty="0">
                    <a:effectLst/>
                  </a:rPr>
                  <a:t>Performance diff. </a:t>
                </a:r>
                <a:endParaRPr lang="en-NL" sz="1050" dirty="0">
                  <a:effectLst/>
                </a:endParaRPr>
              </a:p>
              <a:p>
                <a:pPr>
                  <a:defRPr/>
                </a:pPr>
                <a:r>
                  <a:rPr lang="en-US" sz="1200" b="0" i="0" baseline="0" dirty="0">
                    <a:effectLst/>
                  </a:rPr>
                  <a:t>[% pos. feedback]</a:t>
                </a:r>
                <a:endParaRPr lang="en-NL" sz="105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5682452181332286E-2"/>
              <c:y val="0.2031354146453678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403955152"/>
        <c:crosses val="autoZero"/>
        <c:crossBetween val="between"/>
        <c:majorUnit val="4.0000000000000008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254686092297656"/>
          <c:y val="0.83500876993422746"/>
          <c:w val="0.52155607468946608"/>
          <c:h val="0.107528065109647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 dirty="0">
                <a:effectLst/>
              </a:rPr>
              <a:t>Performance development</a:t>
            </a:r>
            <a:endParaRPr lang="en-NL" b="1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title>
    <c:autoTitleDeleted val="0"/>
    <c:plotArea>
      <c:layout>
        <c:manualLayout>
          <c:layoutTarget val="inner"/>
          <c:xMode val="edge"/>
          <c:yMode val="edge"/>
          <c:x val="0.21315641690594755"/>
          <c:y val="0.15844886715551584"/>
          <c:w val="0.75625795702467757"/>
          <c:h val="0.47354972281398727"/>
        </c:manualLayout>
      </c:layout>
      <c:lineChart>
        <c:grouping val="standar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Adaptive (λ = 0.13)</c:v>
                </c:pt>
              </c:strCache>
            </c:strRef>
          </c:tx>
          <c:spPr>
            <a:ln w="28575" cap="rnd">
              <a:solidFill>
                <a:srgbClr val="C81919"/>
              </a:solidFill>
              <a:round/>
            </a:ln>
            <a:effectLst/>
          </c:spPr>
          <c:marker>
            <c:symbol val="none"/>
          </c:marker>
          <c:cat>
            <c:numRef>
              <c:f>Blad1!$A$2:$A$33</c:f>
              <c:numCache>
                <c:formatCode>General</c:formatCode>
                <c:ptCount val="3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</c:numCache>
            </c:numRef>
          </c:cat>
          <c:val>
            <c:numRef>
              <c:f>Blad1!$B$2:$B$33</c:f>
              <c:numCache>
                <c:formatCode>General</c:formatCode>
                <c:ptCount val="32"/>
                <c:pt idx="0">
                  <c:v>0.57499999999999996</c:v>
                </c:pt>
                <c:pt idx="1">
                  <c:v>0.59499999999999997</c:v>
                </c:pt>
                <c:pt idx="2">
                  <c:v>0.59199999999999997</c:v>
                </c:pt>
                <c:pt idx="3">
                  <c:v>0.58499999999999996</c:v>
                </c:pt>
                <c:pt idx="4">
                  <c:v>0.60799999999999998</c:v>
                </c:pt>
                <c:pt idx="5">
                  <c:v>0.60499999999999998</c:v>
                </c:pt>
                <c:pt idx="6">
                  <c:v>0.61</c:v>
                </c:pt>
                <c:pt idx="7">
                  <c:v>0.59</c:v>
                </c:pt>
                <c:pt idx="8">
                  <c:v>0.6</c:v>
                </c:pt>
                <c:pt idx="9">
                  <c:v>0.61599999999999999</c:v>
                </c:pt>
                <c:pt idx="10">
                  <c:v>0.61499999999999999</c:v>
                </c:pt>
                <c:pt idx="11">
                  <c:v>0.621</c:v>
                </c:pt>
                <c:pt idx="12">
                  <c:v>0.61199999999999999</c:v>
                </c:pt>
                <c:pt idx="13">
                  <c:v>0.621</c:v>
                </c:pt>
                <c:pt idx="14">
                  <c:v>0.628</c:v>
                </c:pt>
                <c:pt idx="15">
                  <c:v>0.629</c:v>
                </c:pt>
                <c:pt idx="16">
                  <c:v>0.64200000000000002</c:v>
                </c:pt>
                <c:pt idx="17">
                  <c:v>0.63200000000000001</c:v>
                </c:pt>
                <c:pt idx="18">
                  <c:v>0.63400000000000001</c:v>
                </c:pt>
                <c:pt idx="19">
                  <c:v>0.629</c:v>
                </c:pt>
                <c:pt idx="20">
                  <c:v>0.629</c:v>
                </c:pt>
                <c:pt idx="21">
                  <c:v>0.64200000000000002</c:v>
                </c:pt>
                <c:pt idx="22">
                  <c:v>0.64</c:v>
                </c:pt>
                <c:pt idx="23">
                  <c:v>0.64900000000000002</c:v>
                </c:pt>
                <c:pt idx="24">
                  <c:v>0.64200000000000002</c:v>
                </c:pt>
                <c:pt idx="25">
                  <c:v>0.65500000000000003</c:v>
                </c:pt>
                <c:pt idx="26">
                  <c:v>0.65</c:v>
                </c:pt>
                <c:pt idx="27">
                  <c:v>0.64300000000000002</c:v>
                </c:pt>
                <c:pt idx="28">
                  <c:v>0.63800000000000001</c:v>
                </c:pt>
                <c:pt idx="29">
                  <c:v>0.64200000000000002</c:v>
                </c:pt>
                <c:pt idx="30">
                  <c:v>0.65</c:v>
                </c:pt>
                <c:pt idx="31">
                  <c:v>0.659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DB-48B1-AB91-8AE380AA03A6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Random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Blad1!$A$2:$A$33</c:f>
              <c:numCache>
                <c:formatCode>General</c:formatCode>
                <c:ptCount val="3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</c:numCache>
            </c:numRef>
          </c:cat>
          <c:val>
            <c:numRef>
              <c:f>Blad1!$C$2:$C$33</c:f>
              <c:numCache>
                <c:formatCode>General</c:formatCode>
                <c:ptCount val="32"/>
                <c:pt idx="0">
                  <c:v>0.54</c:v>
                </c:pt>
                <c:pt idx="1">
                  <c:v>0.54</c:v>
                </c:pt>
                <c:pt idx="2">
                  <c:v>0.53100000000000003</c:v>
                </c:pt>
                <c:pt idx="3">
                  <c:v>0.52900000000000003</c:v>
                </c:pt>
                <c:pt idx="4">
                  <c:v>0.54200000000000004</c:v>
                </c:pt>
                <c:pt idx="5">
                  <c:v>0.53800000000000003</c:v>
                </c:pt>
                <c:pt idx="6">
                  <c:v>0.54400000000000004</c:v>
                </c:pt>
                <c:pt idx="7">
                  <c:v>0.53500000000000003</c:v>
                </c:pt>
                <c:pt idx="8">
                  <c:v>0.54200000000000004</c:v>
                </c:pt>
                <c:pt idx="9">
                  <c:v>0.53</c:v>
                </c:pt>
                <c:pt idx="10">
                  <c:v>0.53800000000000003</c:v>
                </c:pt>
                <c:pt idx="11">
                  <c:v>0.53400000000000003</c:v>
                </c:pt>
                <c:pt idx="12">
                  <c:v>0.53200000000000003</c:v>
                </c:pt>
                <c:pt idx="13">
                  <c:v>0.54</c:v>
                </c:pt>
                <c:pt idx="14">
                  <c:v>0.53200000000000003</c:v>
                </c:pt>
                <c:pt idx="15">
                  <c:v>0.54700000000000004</c:v>
                </c:pt>
                <c:pt idx="16">
                  <c:v>0.54369999999999996</c:v>
                </c:pt>
                <c:pt idx="17">
                  <c:v>0.52</c:v>
                </c:pt>
                <c:pt idx="18">
                  <c:v>0.54</c:v>
                </c:pt>
                <c:pt idx="19">
                  <c:v>0.53500000000000003</c:v>
                </c:pt>
                <c:pt idx="20">
                  <c:v>0.54500000000000004</c:v>
                </c:pt>
                <c:pt idx="21">
                  <c:v>0.53500000000000003</c:v>
                </c:pt>
                <c:pt idx="22">
                  <c:v>0.53500000000000003</c:v>
                </c:pt>
                <c:pt idx="23">
                  <c:v>0.54</c:v>
                </c:pt>
                <c:pt idx="24">
                  <c:v>0.53700000000000003</c:v>
                </c:pt>
                <c:pt idx="25">
                  <c:v>0.53</c:v>
                </c:pt>
                <c:pt idx="26">
                  <c:v>0.53500000000000003</c:v>
                </c:pt>
                <c:pt idx="27">
                  <c:v>0.53900000000000003</c:v>
                </c:pt>
                <c:pt idx="28">
                  <c:v>0.52</c:v>
                </c:pt>
                <c:pt idx="29">
                  <c:v>0.53900000000000003</c:v>
                </c:pt>
                <c:pt idx="30">
                  <c:v>0.53</c:v>
                </c:pt>
                <c:pt idx="31">
                  <c:v>0.528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7DB-48B1-AB91-8AE380AA03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3955152"/>
        <c:axId val="859562640"/>
      </c:lineChart>
      <c:catAx>
        <c:axId val="4039551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330" b="0" i="0" u="none" strike="noStrike" kern="1200" baseline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0" i="0" baseline="0" dirty="0">
                    <a:effectLst/>
                  </a:rPr>
                  <a:t>Weeks into intervention</a:t>
                </a:r>
                <a:endParaRPr lang="en-NL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36846900003393535"/>
              <c:y val="0.7373603054073096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30" b="0" i="0" u="none" strike="noStrike" kern="120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859562640"/>
        <c:crosses val="autoZero"/>
        <c:auto val="1"/>
        <c:lblAlgn val="ctr"/>
        <c:lblOffset val="100"/>
        <c:tickLblSkip val="10"/>
        <c:noMultiLvlLbl val="0"/>
      </c:catAx>
      <c:valAx>
        <c:axId val="859562640"/>
        <c:scaling>
          <c:orientation val="minMax"/>
          <c:max val="0.66000000000000014"/>
          <c:min val="0.5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baseline="0" dirty="0">
                    <a:effectLst/>
                  </a:rPr>
                  <a:t>Performance  </a:t>
                </a:r>
                <a:endParaRPr lang="en-NL" sz="1050" dirty="0">
                  <a:effectLst/>
                </a:endParaRPr>
              </a:p>
              <a:p>
                <a:pPr>
                  <a:defRPr/>
                </a:pPr>
                <a:r>
                  <a:rPr lang="en-US" sz="1200" b="0" i="0" baseline="0" dirty="0">
                    <a:effectLst/>
                  </a:rPr>
                  <a:t>[% pos. feedback]</a:t>
                </a:r>
                <a:endParaRPr lang="en-NL" sz="105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0585646995272813E-2"/>
              <c:y val="0.208389929701208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403955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254686092297656"/>
          <c:y val="0.87179024637883229"/>
          <c:w val="0.51490605921613664"/>
          <c:h val="0.107528065109647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0EDCB-C67F-48F3-86EC-AAF7E31D6DD4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E7388E-FEF5-4168-B313-E6D38CBD677B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80497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2881760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077207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565522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571803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159555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51732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848191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609915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304560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55861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2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57651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0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26407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97486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316273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26110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086366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2001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331610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E7388E-FEF5-4168-B313-E6D38CBD677B}" type="slidenum">
              <a:rPr lang="en-NL" smtClean="0"/>
              <a:t>1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41605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15A1E0-CB1B-4B00-9F60-8A00DE738F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7D02271-9CC1-4A01-A432-58FF284DA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BA0B168-AD9D-4B3C-8AC4-4832603D0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067CCDC-58FB-4C97-A7A7-27E0008A8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45920CE-3452-423C-994F-5B9A1E4C7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58130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61ADC0-BD85-4BFF-8A4E-10C26B252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0E0E6C0-E64D-40FD-920F-EC9CF93424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6B4C144-E34B-4724-9134-70FD71115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8259927-11D0-4BA1-AB1F-B12E96CC8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B3ADC9C-17BE-4E27-BCA7-A436EF364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85154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3148E0CA-FB2D-412B-ADCB-A8A895B177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EE43E286-1067-407D-BBF6-C60C9417E0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2AFA3C8-C05B-4611-A787-7A97C9A27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E0774B4-8DA7-4FAF-A55B-4337DB9EF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DE27876-3F7D-430C-B36E-A568CA7D5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01280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-690"/>
            <a:ext cx="12192000" cy="6858000"/>
          </a:xfrm>
          <a:prstGeom prst="rect">
            <a:avLst/>
          </a:prstGeom>
          <a:solidFill>
            <a:srgbClr val="C81919">
              <a:alpha val="7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4874148"/>
            <a:ext cx="9144000" cy="938294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3DA1A576-034B-45D7-9F5B-548D28C1BC98}" type="datetimeFigureOut">
              <a:rPr lang="en-US" smtClean="0"/>
              <a:t>11/24/2019</a:t>
            </a:fld>
            <a:endParaRPr lang="en-US"/>
          </a:p>
        </p:txBody>
      </p:sp>
      <p:sp>
        <p:nvSpPr>
          <p:cNvPr id="1035" name="Oval 1034"/>
          <p:cNvSpPr/>
          <p:nvPr userDrawn="1"/>
        </p:nvSpPr>
        <p:spPr>
          <a:xfrm>
            <a:off x="7391400" y="999778"/>
            <a:ext cx="5181600" cy="3314376"/>
          </a:xfrm>
          <a:prstGeom prst="ellipse">
            <a:avLst/>
          </a:prstGeom>
          <a:gradFill flip="none" rotWithShape="1">
            <a:gsLst>
              <a:gs pos="49599">
                <a:srgbClr val="FFFFFF">
                  <a:alpha val="29000"/>
                </a:srgbClr>
              </a:gs>
              <a:gs pos="15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1345598-B2C9-4FFE-8967-D41635DDF549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AutoShape 15"/>
          <p:cNvSpPr>
            <a:spLocks noChangeAspect="1" noChangeArrowheads="1" noTextEdit="1"/>
          </p:cNvSpPr>
          <p:nvPr userDrawn="1"/>
        </p:nvSpPr>
        <p:spPr bwMode="auto">
          <a:xfrm>
            <a:off x="1589" y="-690"/>
            <a:ext cx="12190412" cy="3175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7"/>
          <p:cNvSpPr>
            <a:spLocks/>
          </p:cNvSpPr>
          <p:nvPr userDrawn="1"/>
        </p:nvSpPr>
        <p:spPr bwMode="auto">
          <a:xfrm>
            <a:off x="1589" y="-22872"/>
            <a:ext cx="12190412" cy="2961253"/>
          </a:xfrm>
          <a:custGeom>
            <a:avLst/>
            <a:gdLst>
              <a:gd name="T0" fmla="*/ 0 w 3840"/>
              <a:gd name="T1" fmla="*/ 8 h 932"/>
              <a:gd name="T2" fmla="*/ 0 w 3840"/>
              <a:gd name="T3" fmla="*/ 552 h 932"/>
              <a:gd name="T4" fmla="*/ 1040 w 3840"/>
              <a:gd name="T5" fmla="*/ 189 h 932"/>
              <a:gd name="T6" fmla="*/ 3016 w 3840"/>
              <a:gd name="T7" fmla="*/ 860 h 932"/>
              <a:gd name="T8" fmla="*/ 3840 w 3840"/>
              <a:gd name="T9" fmla="*/ 644 h 932"/>
              <a:gd name="T10" fmla="*/ 3840 w 3840"/>
              <a:gd name="T11" fmla="*/ 8 h 932"/>
              <a:gd name="T12" fmla="*/ 0 w 3840"/>
              <a:gd name="T13" fmla="*/ 8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932">
                <a:moveTo>
                  <a:pt x="0" y="8"/>
                </a:moveTo>
                <a:cubicBezTo>
                  <a:pt x="0" y="552"/>
                  <a:pt x="0" y="552"/>
                  <a:pt x="0" y="552"/>
                </a:cubicBezTo>
                <a:cubicBezTo>
                  <a:pt x="0" y="552"/>
                  <a:pt x="183" y="0"/>
                  <a:pt x="1040" y="189"/>
                </a:cubicBezTo>
                <a:cubicBezTo>
                  <a:pt x="1896" y="379"/>
                  <a:pt x="2556" y="788"/>
                  <a:pt x="3016" y="860"/>
                </a:cubicBezTo>
                <a:cubicBezTo>
                  <a:pt x="3476" y="932"/>
                  <a:pt x="3840" y="644"/>
                  <a:pt x="3840" y="644"/>
                </a:cubicBezTo>
                <a:cubicBezTo>
                  <a:pt x="3840" y="8"/>
                  <a:pt x="3840" y="8"/>
                  <a:pt x="3840" y="8"/>
                </a:cubicBezTo>
                <a:lnTo>
                  <a:pt x="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8"/>
          <p:cNvSpPr>
            <a:spLocks/>
          </p:cNvSpPr>
          <p:nvPr userDrawn="1"/>
        </p:nvSpPr>
        <p:spPr bwMode="auto">
          <a:xfrm>
            <a:off x="1589" y="62686"/>
            <a:ext cx="12190412" cy="3712261"/>
          </a:xfrm>
          <a:custGeom>
            <a:avLst/>
            <a:gdLst>
              <a:gd name="T0" fmla="*/ 3840 w 3840"/>
              <a:gd name="T1" fmla="*/ 496 h 1168"/>
              <a:gd name="T2" fmla="*/ 3840 w 3840"/>
              <a:gd name="T3" fmla="*/ 772 h 1168"/>
              <a:gd name="T4" fmla="*/ 2632 w 3840"/>
              <a:gd name="T5" fmla="*/ 868 h 1168"/>
              <a:gd name="T6" fmla="*/ 600 w 3840"/>
              <a:gd name="T7" fmla="*/ 172 h 1168"/>
              <a:gd name="T8" fmla="*/ 0 w 3840"/>
              <a:gd name="T9" fmla="*/ 788 h 1168"/>
              <a:gd name="T10" fmla="*/ 0 w 3840"/>
              <a:gd name="T11" fmla="*/ 306 h 1168"/>
              <a:gd name="T12" fmla="*/ 988 w 3840"/>
              <a:gd name="T13" fmla="*/ 86 h 1168"/>
              <a:gd name="T14" fmla="*/ 3840 w 3840"/>
              <a:gd name="T15" fmla="*/ 496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40" h="1168">
                <a:moveTo>
                  <a:pt x="3840" y="496"/>
                </a:moveTo>
                <a:cubicBezTo>
                  <a:pt x="3840" y="772"/>
                  <a:pt x="3840" y="772"/>
                  <a:pt x="3840" y="772"/>
                </a:cubicBezTo>
                <a:cubicBezTo>
                  <a:pt x="3840" y="772"/>
                  <a:pt x="3324" y="1168"/>
                  <a:pt x="2632" y="868"/>
                </a:cubicBezTo>
                <a:cubicBezTo>
                  <a:pt x="1940" y="568"/>
                  <a:pt x="1136" y="80"/>
                  <a:pt x="600" y="172"/>
                </a:cubicBezTo>
                <a:cubicBezTo>
                  <a:pt x="64" y="264"/>
                  <a:pt x="0" y="788"/>
                  <a:pt x="0" y="788"/>
                </a:cubicBezTo>
                <a:cubicBezTo>
                  <a:pt x="0" y="306"/>
                  <a:pt x="0" y="306"/>
                  <a:pt x="0" y="306"/>
                </a:cubicBezTo>
                <a:cubicBezTo>
                  <a:pt x="0" y="306"/>
                  <a:pt x="264" y="0"/>
                  <a:pt x="988" y="86"/>
                </a:cubicBezTo>
                <a:cubicBezTo>
                  <a:pt x="1755" y="178"/>
                  <a:pt x="2972" y="996"/>
                  <a:pt x="3840" y="49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0" name="Freeform 19"/>
          <p:cNvSpPr>
            <a:spLocks/>
          </p:cNvSpPr>
          <p:nvPr userDrawn="1"/>
        </p:nvSpPr>
        <p:spPr bwMode="auto">
          <a:xfrm>
            <a:off x="1589" y="-354013"/>
            <a:ext cx="12190412" cy="3582340"/>
          </a:xfrm>
          <a:custGeom>
            <a:avLst/>
            <a:gdLst>
              <a:gd name="T0" fmla="*/ 3840 w 3840"/>
              <a:gd name="T1" fmla="*/ 627 h 1127"/>
              <a:gd name="T2" fmla="*/ 3840 w 3840"/>
              <a:gd name="T3" fmla="*/ 784 h 1127"/>
              <a:gd name="T4" fmla="*/ 1504 w 3840"/>
              <a:gd name="T5" fmla="*/ 420 h 1127"/>
              <a:gd name="T6" fmla="*/ 0 w 3840"/>
              <a:gd name="T7" fmla="*/ 568 h 1127"/>
              <a:gd name="T8" fmla="*/ 0 w 3840"/>
              <a:gd name="T9" fmla="*/ 437 h 1127"/>
              <a:gd name="T10" fmla="*/ 988 w 3840"/>
              <a:gd name="T11" fmla="*/ 217 h 1127"/>
              <a:gd name="T12" fmla="*/ 3840 w 3840"/>
              <a:gd name="T13" fmla="*/ 627 h 1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1127">
                <a:moveTo>
                  <a:pt x="3840" y="627"/>
                </a:moveTo>
                <a:cubicBezTo>
                  <a:pt x="3840" y="784"/>
                  <a:pt x="3840" y="784"/>
                  <a:pt x="3840" y="784"/>
                </a:cubicBezTo>
                <a:cubicBezTo>
                  <a:pt x="3200" y="1108"/>
                  <a:pt x="2664" y="840"/>
                  <a:pt x="1504" y="420"/>
                </a:cubicBezTo>
                <a:cubicBezTo>
                  <a:pt x="344" y="0"/>
                  <a:pt x="0" y="568"/>
                  <a:pt x="0" y="568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264" y="131"/>
                  <a:pt x="988" y="217"/>
                </a:cubicBezTo>
                <a:cubicBezTo>
                  <a:pt x="1755" y="309"/>
                  <a:pt x="2972" y="1127"/>
                  <a:pt x="3840" y="627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38200" y="2100181"/>
            <a:ext cx="6159500" cy="2387600"/>
          </a:xfrm>
        </p:spPr>
        <p:txBody>
          <a:bodyPr lIns="0" tIns="0" rIns="0" bIns="0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27" name="Freeform 23"/>
          <p:cNvSpPr>
            <a:spLocks/>
          </p:cNvSpPr>
          <p:nvPr userDrawn="1"/>
        </p:nvSpPr>
        <p:spPr bwMode="auto">
          <a:xfrm flipH="1">
            <a:off x="-1" y="4203700"/>
            <a:ext cx="12133705" cy="2654300"/>
          </a:xfrm>
          <a:custGeom>
            <a:avLst/>
            <a:gdLst>
              <a:gd name="T0" fmla="*/ 3474 w 3474"/>
              <a:gd name="T1" fmla="*/ 0 h 952"/>
              <a:gd name="T2" fmla="*/ 1634 w 3474"/>
              <a:gd name="T3" fmla="*/ 492 h 952"/>
              <a:gd name="T4" fmla="*/ 0 w 3474"/>
              <a:gd name="T5" fmla="*/ 952 h 952"/>
              <a:gd name="T6" fmla="*/ 3474 w 3474"/>
              <a:gd name="T7" fmla="*/ 952 h 952"/>
              <a:gd name="T8" fmla="*/ 3474 w 3474"/>
              <a:gd name="T9" fmla="*/ 0 h 9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74" h="952">
                <a:moveTo>
                  <a:pt x="3474" y="0"/>
                </a:moveTo>
                <a:cubicBezTo>
                  <a:pt x="3474" y="0"/>
                  <a:pt x="2710" y="580"/>
                  <a:pt x="1634" y="492"/>
                </a:cubicBezTo>
                <a:cubicBezTo>
                  <a:pt x="558" y="404"/>
                  <a:pt x="0" y="952"/>
                  <a:pt x="0" y="952"/>
                </a:cubicBezTo>
                <a:cubicBezTo>
                  <a:pt x="3474" y="952"/>
                  <a:pt x="3474" y="952"/>
                  <a:pt x="3474" y="952"/>
                </a:cubicBezTo>
                <a:lnTo>
                  <a:pt x="3474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3" name="Freeform 27"/>
          <p:cNvSpPr>
            <a:spLocks/>
          </p:cNvSpPr>
          <p:nvPr userDrawn="1"/>
        </p:nvSpPr>
        <p:spPr bwMode="auto">
          <a:xfrm>
            <a:off x="6350" y="5265822"/>
            <a:ext cx="12185650" cy="1592178"/>
          </a:xfrm>
          <a:custGeom>
            <a:avLst/>
            <a:gdLst>
              <a:gd name="T0" fmla="*/ 3840 w 3840"/>
              <a:gd name="T1" fmla="*/ 0 h 672"/>
              <a:gd name="T2" fmla="*/ 2440 w 3840"/>
              <a:gd name="T3" fmla="*/ 416 h 672"/>
              <a:gd name="T4" fmla="*/ 0 w 3840"/>
              <a:gd name="T5" fmla="*/ 388 h 672"/>
              <a:gd name="T6" fmla="*/ 0 w 3840"/>
              <a:gd name="T7" fmla="*/ 672 h 672"/>
              <a:gd name="T8" fmla="*/ 3840 w 3840"/>
              <a:gd name="T9" fmla="*/ 672 h 672"/>
              <a:gd name="T10" fmla="*/ 3840 w 3840"/>
              <a:gd name="T11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40" h="672">
                <a:moveTo>
                  <a:pt x="3840" y="0"/>
                </a:moveTo>
                <a:cubicBezTo>
                  <a:pt x="3840" y="0"/>
                  <a:pt x="3408" y="384"/>
                  <a:pt x="2440" y="416"/>
                </a:cubicBezTo>
                <a:cubicBezTo>
                  <a:pt x="1472" y="448"/>
                  <a:pt x="604" y="120"/>
                  <a:pt x="0" y="388"/>
                </a:cubicBezTo>
                <a:cubicBezTo>
                  <a:pt x="0" y="672"/>
                  <a:pt x="0" y="672"/>
                  <a:pt x="0" y="672"/>
                </a:cubicBezTo>
                <a:cubicBezTo>
                  <a:pt x="3840" y="672"/>
                  <a:pt x="3840" y="672"/>
                  <a:pt x="3840" y="672"/>
                </a:cubicBezTo>
                <a:lnTo>
                  <a:pt x="3840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34" name="Rectangle 1033"/>
          <p:cNvSpPr/>
          <p:nvPr userDrawn="1"/>
        </p:nvSpPr>
        <p:spPr>
          <a:xfrm>
            <a:off x="874713" y="4486275"/>
            <a:ext cx="576262" cy="4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1261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hidden="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-690"/>
            <a:ext cx="12192000" cy="6858000"/>
          </a:xfrm>
          <a:prstGeom prst="rect">
            <a:avLst/>
          </a:prstGeom>
          <a:solidFill>
            <a:srgbClr val="C8191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4874148"/>
            <a:ext cx="9144000" cy="938294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3DA1A576-034B-45D7-9F5B-548D28C1BC98}" type="datetimeFigureOut">
              <a:rPr lang="en-US" smtClean="0"/>
              <a:t>11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1345598-B2C9-4FFE-8967-D41635DDF549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AutoShape 15"/>
          <p:cNvSpPr>
            <a:spLocks noChangeAspect="1" noChangeArrowheads="1" noTextEdit="1"/>
          </p:cNvSpPr>
          <p:nvPr userDrawn="1"/>
        </p:nvSpPr>
        <p:spPr bwMode="auto">
          <a:xfrm>
            <a:off x="1589" y="-690"/>
            <a:ext cx="12190412" cy="3175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7"/>
          <p:cNvSpPr>
            <a:spLocks/>
          </p:cNvSpPr>
          <p:nvPr userDrawn="1"/>
        </p:nvSpPr>
        <p:spPr bwMode="auto">
          <a:xfrm>
            <a:off x="1589" y="-22872"/>
            <a:ext cx="12190412" cy="2961253"/>
          </a:xfrm>
          <a:custGeom>
            <a:avLst/>
            <a:gdLst>
              <a:gd name="T0" fmla="*/ 0 w 3840"/>
              <a:gd name="T1" fmla="*/ 8 h 932"/>
              <a:gd name="T2" fmla="*/ 0 w 3840"/>
              <a:gd name="T3" fmla="*/ 552 h 932"/>
              <a:gd name="T4" fmla="*/ 1040 w 3840"/>
              <a:gd name="T5" fmla="*/ 189 h 932"/>
              <a:gd name="T6" fmla="*/ 3016 w 3840"/>
              <a:gd name="T7" fmla="*/ 860 h 932"/>
              <a:gd name="T8" fmla="*/ 3840 w 3840"/>
              <a:gd name="T9" fmla="*/ 644 h 932"/>
              <a:gd name="T10" fmla="*/ 3840 w 3840"/>
              <a:gd name="T11" fmla="*/ 8 h 932"/>
              <a:gd name="T12" fmla="*/ 0 w 3840"/>
              <a:gd name="T13" fmla="*/ 8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932">
                <a:moveTo>
                  <a:pt x="0" y="8"/>
                </a:moveTo>
                <a:cubicBezTo>
                  <a:pt x="0" y="552"/>
                  <a:pt x="0" y="552"/>
                  <a:pt x="0" y="552"/>
                </a:cubicBezTo>
                <a:cubicBezTo>
                  <a:pt x="0" y="552"/>
                  <a:pt x="183" y="0"/>
                  <a:pt x="1040" y="189"/>
                </a:cubicBezTo>
                <a:cubicBezTo>
                  <a:pt x="1896" y="379"/>
                  <a:pt x="2556" y="788"/>
                  <a:pt x="3016" y="860"/>
                </a:cubicBezTo>
                <a:cubicBezTo>
                  <a:pt x="3476" y="932"/>
                  <a:pt x="3840" y="644"/>
                  <a:pt x="3840" y="644"/>
                </a:cubicBezTo>
                <a:cubicBezTo>
                  <a:pt x="3840" y="8"/>
                  <a:pt x="3840" y="8"/>
                  <a:pt x="3840" y="8"/>
                </a:cubicBezTo>
                <a:lnTo>
                  <a:pt x="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8"/>
          <p:cNvSpPr>
            <a:spLocks/>
          </p:cNvSpPr>
          <p:nvPr userDrawn="1"/>
        </p:nvSpPr>
        <p:spPr bwMode="auto">
          <a:xfrm>
            <a:off x="1589" y="62686"/>
            <a:ext cx="12190412" cy="3712261"/>
          </a:xfrm>
          <a:custGeom>
            <a:avLst/>
            <a:gdLst>
              <a:gd name="T0" fmla="*/ 3840 w 3840"/>
              <a:gd name="T1" fmla="*/ 496 h 1168"/>
              <a:gd name="T2" fmla="*/ 3840 w 3840"/>
              <a:gd name="T3" fmla="*/ 772 h 1168"/>
              <a:gd name="T4" fmla="*/ 2632 w 3840"/>
              <a:gd name="T5" fmla="*/ 868 h 1168"/>
              <a:gd name="T6" fmla="*/ 600 w 3840"/>
              <a:gd name="T7" fmla="*/ 172 h 1168"/>
              <a:gd name="T8" fmla="*/ 0 w 3840"/>
              <a:gd name="T9" fmla="*/ 788 h 1168"/>
              <a:gd name="T10" fmla="*/ 0 w 3840"/>
              <a:gd name="T11" fmla="*/ 306 h 1168"/>
              <a:gd name="T12" fmla="*/ 988 w 3840"/>
              <a:gd name="T13" fmla="*/ 86 h 1168"/>
              <a:gd name="T14" fmla="*/ 3840 w 3840"/>
              <a:gd name="T15" fmla="*/ 496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40" h="1168">
                <a:moveTo>
                  <a:pt x="3840" y="496"/>
                </a:moveTo>
                <a:cubicBezTo>
                  <a:pt x="3840" y="772"/>
                  <a:pt x="3840" y="772"/>
                  <a:pt x="3840" y="772"/>
                </a:cubicBezTo>
                <a:cubicBezTo>
                  <a:pt x="3840" y="772"/>
                  <a:pt x="3324" y="1168"/>
                  <a:pt x="2632" y="868"/>
                </a:cubicBezTo>
                <a:cubicBezTo>
                  <a:pt x="1940" y="568"/>
                  <a:pt x="1136" y="80"/>
                  <a:pt x="600" y="172"/>
                </a:cubicBezTo>
                <a:cubicBezTo>
                  <a:pt x="64" y="264"/>
                  <a:pt x="0" y="788"/>
                  <a:pt x="0" y="788"/>
                </a:cubicBezTo>
                <a:cubicBezTo>
                  <a:pt x="0" y="306"/>
                  <a:pt x="0" y="306"/>
                  <a:pt x="0" y="306"/>
                </a:cubicBezTo>
                <a:cubicBezTo>
                  <a:pt x="0" y="306"/>
                  <a:pt x="264" y="0"/>
                  <a:pt x="988" y="86"/>
                </a:cubicBezTo>
                <a:cubicBezTo>
                  <a:pt x="1755" y="178"/>
                  <a:pt x="2972" y="996"/>
                  <a:pt x="3840" y="49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0" name="Freeform 19"/>
          <p:cNvSpPr>
            <a:spLocks/>
          </p:cNvSpPr>
          <p:nvPr userDrawn="1"/>
        </p:nvSpPr>
        <p:spPr bwMode="auto">
          <a:xfrm>
            <a:off x="1589" y="-354013"/>
            <a:ext cx="12190412" cy="3582340"/>
          </a:xfrm>
          <a:custGeom>
            <a:avLst/>
            <a:gdLst>
              <a:gd name="T0" fmla="*/ 3840 w 3840"/>
              <a:gd name="T1" fmla="*/ 627 h 1127"/>
              <a:gd name="T2" fmla="*/ 3840 w 3840"/>
              <a:gd name="T3" fmla="*/ 784 h 1127"/>
              <a:gd name="T4" fmla="*/ 1504 w 3840"/>
              <a:gd name="T5" fmla="*/ 420 h 1127"/>
              <a:gd name="T6" fmla="*/ 0 w 3840"/>
              <a:gd name="T7" fmla="*/ 568 h 1127"/>
              <a:gd name="T8" fmla="*/ 0 w 3840"/>
              <a:gd name="T9" fmla="*/ 437 h 1127"/>
              <a:gd name="T10" fmla="*/ 988 w 3840"/>
              <a:gd name="T11" fmla="*/ 217 h 1127"/>
              <a:gd name="T12" fmla="*/ 3840 w 3840"/>
              <a:gd name="T13" fmla="*/ 627 h 1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40" h="1127">
                <a:moveTo>
                  <a:pt x="3840" y="627"/>
                </a:moveTo>
                <a:cubicBezTo>
                  <a:pt x="3840" y="784"/>
                  <a:pt x="3840" y="784"/>
                  <a:pt x="3840" y="784"/>
                </a:cubicBezTo>
                <a:cubicBezTo>
                  <a:pt x="3200" y="1108"/>
                  <a:pt x="2664" y="840"/>
                  <a:pt x="1504" y="420"/>
                </a:cubicBezTo>
                <a:cubicBezTo>
                  <a:pt x="344" y="0"/>
                  <a:pt x="0" y="568"/>
                  <a:pt x="0" y="568"/>
                </a:cubicBez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264" y="131"/>
                  <a:pt x="988" y="217"/>
                </a:cubicBezTo>
                <a:cubicBezTo>
                  <a:pt x="1755" y="309"/>
                  <a:pt x="2972" y="1127"/>
                  <a:pt x="3840" y="627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838200" y="2100181"/>
            <a:ext cx="6159500" cy="2387600"/>
          </a:xfrm>
        </p:spPr>
        <p:txBody>
          <a:bodyPr lIns="0" tIns="0" rIns="0" bIns="0"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27" name="Freeform 23"/>
          <p:cNvSpPr>
            <a:spLocks/>
          </p:cNvSpPr>
          <p:nvPr userDrawn="1"/>
        </p:nvSpPr>
        <p:spPr bwMode="auto">
          <a:xfrm flipH="1">
            <a:off x="-1" y="4203700"/>
            <a:ext cx="12133705" cy="2654300"/>
          </a:xfrm>
          <a:custGeom>
            <a:avLst/>
            <a:gdLst>
              <a:gd name="T0" fmla="*/ 3474 w 3474"/>
              <a:gd name="T1" fmla="*/ 0 h 952"/>
              <a:gd name="T2" fmla="*/ 1634 w 3474"/>
              <a:gd name="T3" fmla="*/ 492 h 952"/>
              <a:gd name="T4" fmla="*/ 0 w 3474"/>
              <a:gd name="T5" fmla="*/ 952 h 952"/>
              <a:gd name="T6" fmla="*/ 3474 w 3474"/>
              <a:gd name="T7" fmla="*/ 952 h 952"/>
              <a:gd name="T8" fmla="*/ 3474 w 3474"/>
              <a:gd name="T9" fmla="*/ 0 h 9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74" h="952">
                <a:moveTo>
                  <a:pt x="3474" y="0"/>
                </a:moveTo>
                <a:cubicBezTo>
                  <a:pt x="3474" y="0"/>
                  <a:pt x="2710" y="580"/>
                  <a:pt x="1634" y="492"/>
                </a:cubicBezTo>
                <a:cubicBezTo>
                  <a:pt x="558" y="404"/>
                  <a:pt x="0" y="952"/>
                  <a:pt x="0" y="952"/>
                </a:cubicBezTo>
                <a:cubicBezTo>
                  <a:pt x="3474" y="952"/>
                  <a:pt x="3474" y="952"/>
                  <a:pt x="3474" y="952"/>
                </a:cubicBezTo>
                <a:lnTo>
                  <a:pt x="3474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3" name="Freeform 27"/>
          <p:cNvSpPr>
            <a:spLocks/>
          </p:cNvSpPr>
          <p:nvPr userDrawn="1"/>
        </p:nvSpPr>
        <p:spPr bwMode="auto">
          <a:xfrm>
            <a:off x="6350" y="5265822"/>
            <a:ext cx="12185650" cy="1592178"/>
          </a:xfrm>
          <a:custGeom>
            <a:avLst/>
            <a:gdLst>
              <a:gd name="T0" fmla="*/ 3840 w 3840"/>
              <a:gd name="T1" fmla="*/ 0 h 672"/>
              <a:gd name="T2" fmla="*/ 2440 w 3840"/>
              <a:gd name="T3" fmla="*/ 416 h 672"/>
              <a:gd name="T4" fmla="*/ 0 w 3840"/>
              <a:gd name="T5" fmla="*/ 388 h 672"/>
              <a:gd name="T6" fmla="*/ 0 w 3840"/>
              <a:gd name="T7" fmla="*/ 672 h 672"/>
              <a:gd name="T8" fmla="*/ 3840 w 3840"/>
              <a:gd name="T9" fmla="*/ 672 h 672"/>
              <a:gd name="T10" fmla="*/ 3840 w 3840"/>
              <a:gd name="T11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40" h="672">
                <a:moveTo>
                  <a:pt x="3840" y="0"/>
                </a:moveTo>
                <a:cubicBezTo>
                  <a:pt x="3840" y="0"/>
                  <a:pt x="3408" y="384"/>
                  <a:pt x="2440" y="416"/>
                </a:cubicBezTo>
                <a:cubicBezTo>
                  <a:pt x="1472" y="448"/>
                  <a:pt x="604" y="120"/>
                  <a:pt x="0" y="388"/>
                </a:cubicBezTo>
                <a:cubicBezTo>
                  <a:pt x="0" y="672"/>
                  <a:pt x="0" y="672"/>
                  <a:pt x="0" y="672"/>
                </a:cubicBezTo>
                <a:cubicBezTo>
                  <a:pt x="3840" y="672"/>
                  <a:pt x="3840" y="672"/>
                  <a:pt x="3840" y="672"/>
                </a:cubicBezTo>
                <a:lnTo>
                  <a:pt x="3840" y="0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5000"/>
                </a:schemeClr>
              </a:gs>
            </a:gsLst>
            <a:lin ang="135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34" name="Rectangle 1033"/>
          <p:cNvSpPr/>
          <p:nvPr userDrawn="1"/>
        </p:nvSpPr>
        <p:spPr>
          <a:xfrm>
            <a:off x="874713" y="4486275"/>
            <a:ext cx="576262" cy="4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24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A6E017-3D3F-40DE-9D0F-E88B66053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771C10C-1F82-4DA2-9C29-E5DB093A96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CF2C45C-3A04-4535-96FA-83B205A269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A4F8C10-E96A-40CA-831A-E0C9DC4C6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4BAC4C-A083-47CD-BC9A-24992B362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173638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C66F01-B1CD-4243-A5AB-7DD727BD2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D5983B4-CF9B-4486-96CB-DACE113F4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2B86958-3662-473A-84D8-34CF6D8C8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26335DA-7BC2-4000-8B4E-D0CCA99E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7C61EFF-3BA7-4FED-AF09-3165480AB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72966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2408AC-8739-4EFF-B97A-B702F025D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390267-BE8D-4A75-88A8-6C8F96CF4D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150F828-4F2F-4FDB-8255-7A43D97EBF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36B63C5-179C-4BCB-A177-737E1C4FB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A1E80544-571F-444B-B26F-C17D1421D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4F8AB5B-EC7B-4B5E-B950-EBC13FB1B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90903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846CE-ED82-4789-91DD-BBCC4EB97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8CAA096-04AC-41BE-B790-C3BDB439F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430F6AE5-99BB-4BD2-A20C-A0DCA72083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4FEEE77-FF5D-4C85-B6AD-DC15302E9C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B12C641E-AAB6-4920-BCFB-9F48BF1CDE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E7EBBFCB-8536-4313-A31D-7A2CFCAFB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0AFB17B8-91FF-4234-BA2D-1DEE8EC9C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CC66AC3-2989-4868-AC36-0D341650F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74644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95A91-8B03-41A3-A6DD-0BD7E5D0F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58AEC1B-2F43-4211-9C98-4C9ECD9BA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1F116FD-F3F2-4A4C-B431-4F6A93818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8CDC4D9-23B6-4B5F-A1DF-3FEC7ED1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31639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AC714DB-4C2B-4562-A2D4-08BA5C914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255E3A0-D3F1-45B5-B8E1-688146636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E0E002A-9279-4997-AA80-2D798B5834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0121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C663-F4D5-426D-85C6-FE48EF82B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7D4B6D3-2E01-410C-8C2D-5C33F5786D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B3EBEC3-1978-4352-B10D-8C1AA858D4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94AD9A8-2A7D-4C4C-B9A4-C3FE1B39A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7D56B15-8579-438A-A2A0-F5E0A45AC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31B485D-4888-4461-9CD6-271675CD0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25407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484FB2-632D-40F7-9A37-E6751A43D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7DB524EF-4581-47B0-A57A-7B37CFCAD2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CC05E6E-5086-4971-BD06-D4438ED288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874C029-5907-4E4A-A7F0-175D77F38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F5EE82E-B345-48AE-B14A-A942C7339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A5C4093-9995-474F-934A-9FAB258A8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82508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D8D33ED-9C80-4F2C-AF52-468B4CCC5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EDB7AFC-B129-4F83-BC0D-725F0ED1BB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1A9B7-98A3-4199-86EA-061B99FE5B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15DC59-19BA-4827-9D6D-0D88DDF94F5D}" type="datetimeFigureOut">
              <a:rPr lang="en-NL" smtClean="0"/>
              <a:t>24/11/2019</a:t>
            </a:fld>
            <a:endParaRPr lang="en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0A5C8CE-01D0-4CCA-BF35-28F52878BA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1FBBECF-C9B4-430C-9974-8A8004E83A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8E4CE9-2DF2-4029-A14B-9C0D9FCC3E24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57770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838200" y="3194516"/>
            <a:ext cx="10981888" cy="1140688"/>
          </a:xfrm>
        </p:spPr>
        <p:txBody>
          <a:bodyPr>
            <a:normAutofit/>
          </a:bodyPr>
          <a:lstStyle/>
          <a:p>
            <a:r>
              <a:rPr lang="cy-GB" sz="4000" dirty="0"/>
              <a:t>Evaluation of computer-tailored motivational messaging in a health-promotion context</a:t>
            </a:r>
            <a:endParaRPr lang="en-US" sz="4000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857252" y="4874148"/>
            <a:ext cx="9144000" cy="938294"/>
          </a:xfrm>
        </p:spPr>
        <p:txBody>
          <a:bodyPr/>
          <a:lstStyle/>
          <a:p>
            <a:r>
              <a:rPr lang="cy-GB" dirty="0"/>
              <a:t>J.E. D’Hondt, R.C.Y. Nuijten, P.M.E. Van Gorp</a:t>
            </a:r>
            <a:endParaRPr lang="en-US" dirty="0"/>
          </a:p>
        </p:txBody>
      </p:sp>
      <p:pic>
        <p:nvPicPr>
          <p:cNvPr id="26" name="Afbeelding 25">
            <a:extLst>
              <a:ext uri="{FF2B5EF4-FFF2-40B4-BE49-F238E27FC236}">
                <a16:creationId xmlns:a16="http://schemas.microsoft.com/office/drawing/2014/main" id="{CEBA8737-D77C-443A-A30F-D2B2DED562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766" y="556951"/>
            <a:ext cx="3582099" cy="977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979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0BCB3E69-208B-434E-9AB6-F70038F94C2C}"/>
              </a:ext>
            </a:extLst>
          </p:cNvPr>
          <p:cNvGrpSpPr/>
          <p:nvPr/>
        </p:nvGrpSpPr>
        <p:grpSpPr>
          <a:xfrm>
            <a:off x="874713" y="3429000"/>
            <a:ext cx="3489192" cy="399593"/>
            <a:chOff x="874713" y="2844451"/>
            <a:chExt cx="3489192" cy="399593"/>
          </a:xfrm>
        </p:grpSpPr>
        <p:grpSp>
          <p:nvGrpSpPr>
            <p:cNvPr id="47" name="Group 12">
              <a:extLst>
                <a:ext uri="{FF2B5EF4-FFF2-40B4-BE49-F238E27FC236}">
                  <a16:creationId xmlns:a16="http://schemas.microsoft.com/office/drawing/2014/main" id="{D84DA442-C8C1-42BE-A509-26FB18A1F949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51" name="Oval 179">
                <a:extLst>
                  <a:ext uri="{FF2B5EF4-FFF2-40B4-BE49-F238E27FC236}">
                    <a16:creationId xmlns:a16="http://schemas.microsoft.com/office/drawing/2014/main" id="{2289FC8C-BAD4-4F2A-9C1F-D4B076552795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188">
                <a:extLst>
                  <a:ext uri="{FF2B5EF4-FFF2-40B4-BE49-F238E27FC236}">
                    <a16:creationId xmlns:a16="http://schemas.microsoft.com/office/drawing/2014/main" id="{55E6547E-E708-42AB-B11E-497D8025979E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8" name="TextBox 192">
              <a:extLst>
                <a:ext uri="{FF2B5EF4-FFF2-40B4-BE49-F238E27FC236}">
                  <a16:creationId xmlns:a16="http://schemas.microsoft.com/office/drawing/2014/main" id="{FC3D56CC-4363-4AF9-8E96-8E339BC53C8A}"/>
                </a:ext>
              </a:extLst>
            </p:cNvPr>
            <p:cNvSpPr txBox="1"/>
            <p:nvPr/>
          </p:nvSpPr>
          <p:spPr>
            <a:xfrm>
              <a:off x="1713841" y="2844451"/>
              <a:ext cx="26500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ercises mostly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y own initiative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ystem context</a:t>
            </a:r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38CD91A5-D4CE-4CB5-8A7F-89DD87519C26}"/>
              </a:ext>
            </a:extLst>
          </p:cNvPr>
          <p:cNvGrpSpPr/>
          <p:nvPr/>
        </p:nvGrpSpPr>
        <p:grpSpPr>
          <a:xfrm>
            <a:off x="1362077" y="2219287"/>
            <a:ext cx="3489192" cy="430887"/>
            <a:chOff x="874713" y="1817231"/>
            <a:chExt cx="3489192" cy="430887"/>
          </a:xfrm>
        </p:grpSpPr>
        <p:grpSp>
          <p:nvGrpSpPr>
            <p:cNvPr id="56" name="Group 13">
              <a:extLst>
                <a:ext uri="{FF2B5EF4-FFF2-40B4-BE49-F238E27FC236}">
                  <a16:creationId xmlns:a16="http://schemas.microsoft.com/office/drawing/2014/main" id="{04753109-7078-4A58-88AE-7F61A6D59593}"/>
                </a:ext>
              </a:extLst>
            </p:cNvPr>
            <p:cNvGrpSpPr/>
            <p:nvPr/>
          </p:nvGrpSpPr>
          <p:grpSpPr>
            <a:xfrm>
              <a:off x="874713" y="1848524"/>
              <a:ext cx="487364" cy="368300"/>
              <a:chOff x="8102600" y="2032000"/>
              <a:chExt cx="487364" cy="368300"/>
            </a:xfrm>
          </p:grpSpPr>
          <p:sp>
            <p:nvSpPr>
              <p:cNvPr id="58" name="Oval 2">
                <a:extLst>
                  <a:ext uri="{FF2B5EF4-FFF2-40B4-BE49-F238E27FC236}">
                    <a16:creationId xmlns:a16="http://schemas.microsoft.com/office/drawing/2014/main" id="{7636993B-BC27-4D90-9373-E0FA17EB5F7A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187">
                <a:extLst>
                  <a:ext uri="{FF2B5EF4-FFF2-40B4-BE49-F238E27FC236}">
                    <a16:creationId xmlns:a16="http://schemas.microsoft.com/office/drawing/2014/main" id="{5F0FB9DF-332F-4733-8817-8EF2016B319B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7" name="TextBox 191">
              <a:extLst>
                <a:ext uri="{FF2B5EF4-FFF2-40B4-BE49-F238E27FC236}">
                  <a16:creationId xmlns:a16="http://schemas.microsoft.com/office/drawing/2014/main" id="{5C9683A5-CB64-4377-803F-45ACB0154E9E}"/>
                </a:ext>
              </a:extLst>
            </p:cNvPr>
            <p:cNvSpPr txBox="1"/>
            <p:nvPr/>
          </p:nvSpPr>
          <p:spPr>
            <a:xfrm>
              <a:off x="1713841" y="181723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Users interact with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Health solutions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A723997E-8F79-46D8-A188-0F0F8CD78D48}"/>
              </a:ext>
            </a:extLst>
          </p:cNvPr>
          <p:cNvGrpSpPr/>
          <p:nvPr/>
        </p:nvGrpSpPr>
        <p:grpSpPr>
          <a:xfrm>
            <a:off x="1362077" y="4638713"/>
            <a:ext cx="3489192" cy="430887"/>
            <a:chOff x="874713" y="3871671"/>
            <a:chExt cx="3489192" cy="430887"/>
          </a:xfrm>
        </p:grpSpPr>
        <p:grpSp>
          <p:nvGrpSpPr>
            <p:cNvPr id="43" name="Group 5">
              <a:extLst>
                <a:ext uri="{FF2B5EF4-FFF2-40B4-BE49-F238E27FC236}">
                  <a16:creationId xmlns:a16="http://schemas.microsoft.com/office/drawing/2014/main" id="{80AD3F42-6668-4181-84C1-E03F5D111A36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45" name="Oval 180">
                <a:extLst>
                  <a:ext uri="{FF2B5EF4-FFF2-40B4-BE49-F238E27FC236}">
                    <a16:creationId xmlns:a16="http://schemas.microsoft.com/office/drawing/2014/main" id="{3CF9965C-CFAD-4952-9A57-B36195431BC5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189">
                <a:extLst>
                  <a:ext uri="{FF2B5EF4-FFF2-40B4-BE49-F238E27FC236}">
                    <a16:creationId xmlns:a16="http://schemas.microsoft.com/office/drawing/2014/main" id="{BD4A211D-D6C1-471E-A086-A69B7B562521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4" name="TextBox 193">
              <a:extLst>
                <a:ext uri="{FF2B5EF4-FFF2-40B4-BE49-F238E27FC236}">
                  <a16:creationId xmlns:a16="http://schemas.microsoft.com/office/drawing/2014/main" id="{7D6EAE88-6997-45F1-90EB-CA12A788D523}"/>
                </a:ext>
              </a:extLst>
            </p:cNvPr>
            <p:cNvSpPr txBox="1"/>
            <p:nvPr/>
          </p:nvSpPr>
          <p:spPr>
            <a:xfrm>
              <a:off x="1713841" y="387167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PMA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erves to motivate and nudge user into using application</a:t>
              </a:r>
            </a:p>
          </p:txBody>
        </p:sp>
      </p:grp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hoek 88">
            <a:extLst>
              <a:ext uri="{FF2B5EF4-FFF2-40B4-BE49-F238E27FC236}">
                <a16:creationId xmlns:a16="http://schemas.microsoft.com/office/drawing/2014/main" id="{869F64BB-0F47-46B6-951E-77E1A3F9C85B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4" name="Groep 143">
            <a:extLst>
              <a:ext uri="{FF2B5EF4-FFF2-40B4-BE49-F238E27FC236}">
                <a16:creationId xmlns:a16="http://schemas.microsoft.com/office/drawing/2014/main" id="{FBFE8B6E-A8FF-4F81-B455-8AA820904156}"/>
              </a:ext>
            </a:extLst>
          </p:cNvPr>
          <p:cNvGrpSpPr/>
          <p:nvPr/>
        </p:nvGrpSpPr>
        <p:grpSpPr>
          <a:xfrm>
            <a:off x="7465404" y="910465"/>
            <a:ext cx="4421631" cy="5092481"/>
            <a:chOff x="6529233" y="910465"/>
            <a:chExt cx="4421631" cy="5092481"/>
          </a:xfrm>
        </p:grpSpPr>
        <p:grpSp>
          <p:nvGrpSpPr>
            <p:cNvPr id="142" name="Groep 141">
              <a:extLst>
                <a:ext uri="{FF2B5EF4-FFF2-40B4-BE49-F238E27FC236}">
                  <a16:creationId xmlns:a16="http://schemas.microsoft.com/office/drawing/2014/main" id="{7CDBC32C-C96D-4BB0-9403-B0C4EBE8B947}"/>
                </a:ext>
              </a:extLst>
            </p:cNvPr>
            <p:cNvGrpSpPr/>
            <p:nvPr/>
          </p:nvGrpSpPr>
          <p:grpSpPr>
            <a:xfrm>
              <a:off x="6529233" y="910465"/>
              <a:ext cx="2150546" cy="5092481"/>
              <a:chOff x="6529233" y="910465"/>
              <a:chExt cx="2150546" cy="5092481"/>
            </a:xfrm>
          </p:grpSpPr>
          <p:sp>
            <p:nvSpPr>
              <p:cNvPr id="90" name="Rechthoek: afgeronde hoeken 89">
                <a:extLst>
                  <a:ext uri="{FF2B5EF4-FFF2-40B4-BE49-F238E27FC236}">
                    <a16:creationId xmlns:a16="http://schemas.microsoft.com/office/drawing/2014/main" id="{1A744A3A-DF39-43BE-B178-C7D76D960702}"/>
                  </a:ext>
                </a:extLst>
              </p:cNvPr>
              <p:cNvSpPr/>
              <p:nvPr/>
            </p:nvSpPr>
            <p:spPr>
              <a:xfrm>
                <a:off x="6529233" y="910465"/>
                <a:ext cx="2150546" cy="5092481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0" name="Rechthoek: afgeronde hoeken 9">
                <a:extLst>
                  <a:ext uri="{FF2B5EF4-FFF2-40B4-BE49-F238E27FC236}">
                    <a16:creationId xmlns:a16="http://schemas.microsoft.com/office/drawing/2014/main" id="{EF4C00E1-04F8-4063-B1F6-805954D74E7D}"/>
                  </a:ext>
                </a:extLst>
              </p:cNvPr>
              <p:cNvSpPr/>
              <p:nvPr/>
            </p:nvSpPr>
            <p:spPr>
              <a:xfrm>
                <a:off x="6649772" y="1030812"/>
                <a:ext cx="1909469" cy="4851787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User</a:t>
                </a:r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" name="Rechthoek 3">
                <a:extLst>
                  <a:ext uri="{FF2B5EF4-FFF2-40B4-BE49-F238E27FC236}">
                    <a16:creationId xmlns:a16="http://schemas.microsoft.com/office/drawing/2014/main" id="{7AB8246F-118C-4FD0-8960-24282EBC793C}"/>
                  </a:ext>
                </a:extLst>
              </p:cNvPr>
              <p:cNvSpPr/>
              <p:nvPr/>
            </p:nvSpPr>
            <p:spPr>
              <a:xfrm>
                <a:off x="7044559" y="4513673"/>
                <a:ext cx="1119895" cy="1119895"/>
              </a:xfrm>
              <a:prstGeom prst="rect">
                <a:avLst/>
              </a:prstGeom>
              <a:blipFill dpi="0" rotWithShape="1">
                <a:blip r:embed="rId4">
                  <a:alphaModFix amt="6000"/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  <p:grpSp>
          <p:nvGrpSpPr>
            <p:cNvPr id="137" name="Groep 136">
              <a:extLst>
                <a:ext uri="{FF2B5EF4-FFF2-40B4-BE49-F238E27FC236}">
                  <a16:creationId xmlns:a16="http://schemas.microsoft.com/office/drawing/2014/main" id="{6CD8B877-9C33-49A1-9873-EFEC7EE3EA3D}"/>
                </a:ext>
              </a:extLst>
            </p:cNvPr>
            <p:cNvGrpSpPr/>
            <p:nvPr/>
          </p:nvGrpSpPr>
          <p:grpSpPr>
            <a:xfrm>
              <a:off x="8800318" y="910465"/>
              <a:ext cx="2150546" cy="5092481"/>
              <a:chOff x="8800318" y="910465"/>
              <a:chExt cx="2150546" cy="5092481"/>
            </a:xfrm>
          </p:grpSpPr>
          <p:sp>
            <p:nvSpPr>
              <p:cNvPr id="92" name="Rechthoek: afgeronde hoeken 91">
                <a:extLst>
                  <a:ext uri="{FF2B5EF4-FFF2-40B4-BE49-F238E27FC236}">
                    <a16:creationId xmlns:a16="http://schemas.microsoft.com/office/drawing/2014/main" id="{158C780E-4747-4C52-BF41-5140F5D06283}"/>
                  </a:ext>
                </a:extLst>
              </p:cNvPr>
              <p:cNvSpPr/>
              <p:nvPr/>
            </p:nvSpPr>
            <p:spPr>
              <a:xfrm>
                <a:off x="8800318" y="910465"/>
                <a:ext cx="2150546" cy="5092481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94" name="Rechthoek: afgeronde hoeken 93">
                <a:extLst>
                  <a:ext uri="{FF2B5EF4-FFF2-40B4-BE49-F238E27FC236}">
                    <a16:creationId xmlns:a16="http://schemas.microsoft.com/office/drawing/2014/main" id="{AA1FEC0D-FF7E-41E6-BEAF-60BFE8765CC2}"/>
                  </a:ext>
                </a:extLst>
              </p:cNvPr>
              <p:cNvSpPr/>
              <p:nvPr/>
            </p:nvSpPr>
            <p:spPr>
              <a:xfrm>
                <a:off x="8920857" y="1030812"/>
                <a:ext cx="1909469" cy="4851787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Health app</a:t>
                </a:r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95" name="Rechthoek 94">
                <a:extLst>
                  <a:ext uri="{FF2B5EF4-FFF2-40B4-BE49-F238E27FC236}">
                    <a16:creationId xmlns:a16="http://schemas.microsoft.com/office/drawing/2014/main" id="{44A36C4E-C701-4D93-B121-C8EFDBD97272}"/>
                  </a:ext>
                </a:extLst>
              </p:cNvPr>
              <p:cNvSpPr/>
              <p:nvPr/>
            </p:nvSpPr>
            <p:spPr>
              <a:xfrm>
                <a:off x="9315644" y="4509134"/>
                <a:ext cx="1119895" cy="1119895"/>
              </a:xfrm>
              <a:prstGeom prst="rect">
                <a:avLst/>
              </a:prstGeom>
              <a:blipFill dpi="0" rotWithShape="1">
                <a:blip r:embed="rId5">
                  <a:alphaModFix amt="6000"/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</p:grpSp>
      <p:grpSp>
        <p:nvGrpSpPr>
          <p:cNvPr id="152" name="Groep 151">
            <a:extLst>
              <a:ext uri="{FF2B5EF4-FFF2-40B4-BE49-F238E27FC236}">
                <a16:creationId xmlns:a16="http://schemas.microsoft.com/office/drawing/2014/main" id="{DEBE2273-AFE7-4E2E-A237-3790351140A3}"/>
              </a:ext>
            </a:extLst>
          </p:cNvPr>
          <p:cNvGrpSpPr/>
          <p:nvPr/>
        </p:nvGrpSpPr>
        <p:grpSpPr>
          <a:xfrm>
            <a:off x="8082874" y="1751875"/>
            <a:ext cx="3730737" cy="4045502"/>
            <a:chOff x="7146703" y="1751875"/>
            <a:chExt cx="3730737" cy="4045502"/>
          </a:xfrm>
        </p:grpSpPr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725ACE83-0EC7-4DF0-8C2A-4E29B62C79C4}"/>
                </a:ext>
              </a:extLst>
            </p:cNvPr>
            <p:cNvSpPr/>
            <p:nvPr/>
          </p:nvSpPr>
          <p:spPr>
            <a:xfrm>
              <a:off x="7408838" y="1852888"/>
              <a:ext cx="391335" cy="39133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hthoek: afgeronde hoeken 13">
              <a:extLst>
                <a:ext uri="{FF2B5EF4-FFF2-40B4-BE49-F238E27FC236}">
                  <a16:creationId xmlns:a16="http://schemas.microsoft.com/office/drawing/2014/main" id="{B0502C00-EA26-4685-B756-342456B664D9}"/>
                </a:ext>
              </a:extLst>
            </p:cNvPr>
            <p:cNvSpPr/>
            <p:nvPr/>
          </p:nvSpPr>
          <p:spPr>
            <a:xfrm>
              <a:off x="9410076" y="1751875"/>
              <a:ext cx="914400" cy="59336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100" dirty="0"/>
                <a:t>CHECK NEWSFEED</a:t>
              </a:r>
              <a:endParaRPr lang="en-NL" sz="1100" dirty="0"/>
            </a:p>
          </p:txBody>
        </p:sp>
        <p:cxnSp>
          <p:nvCxnSpPr>
            <p:cNvPr id="17" name="Rechte verbindingslijn met pijl 16">
              <a:extLst>
                <a:ext uri="{FF2B5EF4-FFF2-40B4-BE49-F238E27FC236}">
                  <a16:creationId xmlns:a16="http://schemas.microsoft.com/office/drawing/2014/main" id="{68E5E406-3E34-440F-B51A-55D968D241D1}"/>
                </a:ext>
              </a:extLst>
            </p:cNvPr>
            <p:cNvCxnSpPr>
              <a:stCxn id="12" idx="6"/>
              <a:endCxn id="14" idx="1"/>
            </p:cNvCxnSpPr>
            <p:nvPr/>
          </p:nvCxnSpPr>
          <p:spPr>
            <a:xfrm flipV="1">
              <a:off x="7800173" y="2048555"/>
              <a:ext cx="1609903" cy="1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hthoek: afgeronde hoeken 95">
              <a:extLst>
                <a:ext uri="{FF2B5EF4-FFF2-40B4-BE49-F238E27FC236}">
                  <a16:creationId xmlns:a16="http://schemas.microsoft.com/office/drawing/2014/main" id="{DC27FC84-E847-4C6D-B3A3-17A995F9FE9F}"/>
                </a:ext>
              </a:extLst>
            </p:cNvPr>
            <p:cNvSpPr/>
            <p:nvPr/>
          </p:nvSpPr>
          <p:spPr>
            <a:xfrm>
              <a:off x="7146703" y="2803848"/>
              <a:ext cx="915603" cy="594141"/>
            </a:xfrm>
            <a:prstGeom prst="roundRect">
              <a:avLst/>
            </a:prstGeom>
            <a:solidFill>
              <a:srgbClr val="C8191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100" dirty="0"/>
                <a:t>EXERCISE</a:t>
              </a:r>
              <a:endParaRPr lang="en-NL" sz="1100" dirty="0"/>
            </a:p>
          </p:txBody>
        </p:sp>
        <p:cxnSp>
          <p:nvCxnSpPr>
            <p:cNvPr id="97" name="Rechte verbindingslijn met pijl 96">
              <a:extLst>
                <a:ext uri="{FF2B5EF4-FFF2-40B4-BE49-F238E27FC236}">
                  <a16:creationId xmlns:a16="http://schemas.microsoft.com/office/drawing/2014/main" id="{A91DB27A-6F02-4DD2-9455-F8CFED00460D}"/>
                </a:ext>
              </a:extLst>
            </p:cNvPr>
            <p:cNvCxnSpPr>
              <a:cxnSpLocks/>
              <a:stCxn id="12" idx="4"/>
              <a:endCxn id="96" idx="0"/>
            </p:cNvCxnSpPr>
            <p:nvPr/>
          </p:nvCxnSpPr>
          <p:spPr>
            <a:xfrm flipH="1">
              <a:off x="7604505" y="2244223"/>
              <a:ext cx="1" cy="559625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CFA0BFD9-5A9F-4F90-B8C0-B24ECB47D12F}"/>
                </a:ext>
              </a:extLst>
            </p:cNvPr>
            <p:cNvGrpSpPr/>
            <p:nvPr/>
          </p:nvGrpSpPr>
          <p:grpSpPr>
            <a:xfrm>
              <a:off x="9376810" y="2772306"/>
              <a:ext cx="980933" cy="657225"/>
              <a:chOff x="9376810" y="2743379"/>
              <a:chExt cx="980933" cy="657225"/>
            </a:xfrm>
          </p:grpSpPr>
          <p:sp>
            <p:nvSpPr>
              <p:cNvPr id="22" name="Stroomdiagram: Beslissing 21">
                <a:extLst>
                  <a:ext uri="{FF2B5EF4-FFF2-40B4-BE49-F238E27FC236}">
                    <a16:creationId xmlns:a16="http://schemas.microsoft.com/office/drawing/2014/main" id="{64D9C203-9AE1-4093-83FF-85C248CF2720}"/>
                  </a:ext>
                </a:extLst>
              </p:cNvPr>
              <p:cNvSpPr/>
              <p:nvPr/>
            </p:nvSpPr>
            <p:spPr>
              <a:xfrm>
                <a:off x="9376810" y="2743379"/>
                <a:ext cx="980933" cy="657225"/>
              </a:xfrm>
              <a:prstGeom prst="flowChartDecision">
                <a:avLst/>
              </a:prstGeom>
              <a:solidFill>
                <a:schemeClr val="bg1"/>
              </a:solidFill>
              <a:ln w="34925" cap="rnd">
                <a:solidFill>
                  <a:schemeClr val="bg1">
                    <a:lumMod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NL" sz="800" dirty="0">
                  <a:solidFill>
                    <a:srgbClr val="5A5656"/>
                  </a:solidFill>
                </a:endParaRPr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D5C121DE-ADDA-4D0A-9D2D-76EB1D83A6BD}"/>
                  </a:ext>
                </a:extLst>
              </p:cNvPr>
              <p:cNvSpPr txBox="1"/>
              <p:nvPr/>
            </p:nvSpPr>
            <p:spPr>
              <a:xfrm>
                <a:off x="9471036" y="2964269"/>
                <a:ext cx="79248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OTIVATED?</a:t>
                </a:r>
                <a:endParaRPr lang="en-NL" sz="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100" name="Rechte verbindingslijn met pijl 99">
              <a:extLst>
                <a:ext uri="{FF2B5EF4-FFF2-40B4-BE49-F238E27FC236}">
                  <a16:creationId xmlns:a16="http://schemas.microsoft.com/office/drawing/2014/main" id="{AFD2C5B6-3ED9-4B8B-8F64-B525CA8E88C5}"/>
                </a:ext>
              </a:extLst>
            </p:cNvPr>
            <p:cNvCxnSpPr>
              <a:cxnSpLocks/>
              <a:stCxn id="14" idx="2"/>
              <a:endCxn id="22" idx="0"/>
            </p:cNvCxnSpPr>
            <p:nvPr/>
          </p:nvCxnSpPr>
          <p:spPr>
            <a:xfrm>
              <a:off x="9867276" y="2345235"/>
              <a:ext cx="1" cy="427071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Groep 97">
              <a:extLst>
                <a:ext uri="{FF2B5EF4-FFF2-40B4-BE49-F238E27FC236}">
                  <a16:creationId xmlns:a16="http://schemas.microsoft.com/office/drawing/2014/main" id="{6C5DD0CA-5215-41FE-9447-1B4E5AB4CC30}"/>
                </a:ext>
              </a:extLst>
            </p:cNvPr>
            <p:cNvGrpSpPr/>
            <p:nvPr/>
          </p:nvGrpSpPr>
          <p:grpSpPr>
            <a:xfrm>
              <a:off x="8062306" y="2916252"/>
              <a:ext cx="1374773" cy="369332"/>
              <a:chOff x="8062306" y="2866175"/>
              <a:chExt cx="1374773" cy="369332"/>
            </a:xfrm>
          </p:grpSpPr>
          <p:cxnSp>
            <p:nvCxnSpPr>
              <p:cNvPr id="103" name="Rechte verbindingslijn met pijl 102">
                <a:extLst>
                  <a:ext uri="{FF2B5EF4-FFF2-40B4-BE49-F238E27FC236}">
                    <a16:creationId xmlns:a16="http://schemas.microsoft.com/office/drawing/2014/main" id="{C35312BF-69D1-406D-B309-1F88039485D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062306" y="3050841"/>
                <a:ext cx="763767" cy="0"/>
              </a:xfrm>
              <a:prstGeom prst="straightConnector1">
                <a:avLst/>
              </a:prstGeom>
              <a:ln w="25400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6" name="Tekstvak 105">
                <a:extLst>
                  <a:ext uri="{FF2B5EF4-FFF2-40B4-BE49-F238E27FC236}">
                    <a16:creationId xmlns:a16="http://schemas.microsoft.com/office/drawing/2014/main" id="{2CFD9E3E-46C2-4B47-9934-06895E74210F}"/>
                  </a:ext>
                </a:extLst>
              </p:cNvPr>
              <p:cNvSpPr txBox="1"/>
              <p:nvPr/>
            </p:nvSpPr>
            <p:spPr>
              <a:xfrm>
                <a:off x="8860030" y="2866175"/>
                <a:ext cx="57704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YES</a:t>
                </a:r>
                <a:endParaRPr lang="en-NL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113" name="Rechte verbindingslijn met pijl 112">
              <a:extLst>
                <a:ext uri="{FF2B5EF4-FFF2-40B4-BE49-F238E27FC236}">
                  <a16:creationId xmlns:a16="http://schemas.microsoft.com/office/drawing/2014/main" id="{7DB76D7C-A87C-4299-9F77-65BD8967CAF5}"/>
                </a:ext>
              </a:extLst>
            </p:cNvPr>
            <p:cNvCxnSpPr>
              <a:cxnSpLocks/>
              <a:stCxn id="114" idx="2"/>
              <a:endCxn id="121" idx="6"/>
            </p:cNvCxnSpPr>
            <p:nvPr/>
          </p:nvCxnSpPr>
          <p:spPr>
            <a:xfrm rot="5400000">
              <a:off x="9192054" y="4164789"/>
              <a:ext cx="2316126" cy="557717"/>
            </a:xfrm>
            <a:prstGeom prst="bentConnector2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kstvak 113">
              <a:extLst>
                <a:ext uri="{FF2B5EF4-FFF2-40B4-BE49-F238E27FC236}">
                  <a16:creationId xmlns:a16="http://schemas.microsoft.com/office/drawing/2014/main" id="{D0F84586-246C-46F7-B38C-04163FB8D076}"/>
                </a:ext>
              </a:extLst>
            </p:cNvPr>
            <p:cNvSpPr txBox="1"/>
            <p:nvPr/>
          </p:nvSpPr>
          <p:spPr>
            <a:xfrm>
              <a:off x="10380510" y="2916252"/>
              <a:ext cx="4969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</a:t>
              </a:r>
              <a:endParaRPr lang="en-NL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1" name="Ovaal 120">
              <a:extLst>
                <a:ext uri="{FF2B5EF4-FFF2-40B4-BE49-F238E27FC236}">
                  <a16:creationId xmlns:a16="http://schemas.microsoft.com/office/drawing/2014/main" id="{BE98C7A1-8A8C-4A6B-8DA1-C1E98231DADC}"/>
                </a:ext>
              </a:extLst>
            </p:cNvPr>
            <p:cNvSpPr/>
            <p:nvPr/>
          </p:nvSpPr>
          <p:spPr>
            <a:xfrm>
              <a:off x="9679923" y="5406042"/>
              <a:ext cx="391335" cy="39133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31" name="Rechthoek: afgeronde hoeken 130">
              <a:extLst>
                <a:ext uri="{FF2B5EF4-FFF2-40B4-BE49-F238E27FC236}">
                  <a16:creationId xmlns:a16="http://schemas.microsoft.com/office/drawing/2014/main" id="{764FBFBA-26EC-43EA-8D7C-A3A64D7FD97D}"/>
                </a:ext>
              </a:extLst>
            </p:cNvPr>
            <p:cNvSpPr/>
            <p:nvPr/>
          </p:nvSpPr>
          <p:spPr>
            <a:xfrm>
              <a:off x="9418391" y="3862891"/>
              <a:ext cx="914400" cy="59336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100" dirty="0"/>
                <a:t>LOG ACTIVITY</a:t>
              </a:r>
              <a:endParaRPr lang="en-NL" sz="1100" dirty="0"/>
            </a:p>
          </p:txBody>
        </p:sp>
        <p:cxnSp>
          <p:nvCxnSpPr>
            <p:cNvPr id="135" name="Rechte verbindingslijn met pijl 134">
              <a:extLst>
                <a:ext uri="{FF2B5EF4-FFF2-40B4-BE49-F238E27FC236}">
                  <a16:creationId xmlns:a16="http://schemas.microsoft.com/office/drawing/2014/main" id="{8DE31E50-DD42-438B-8FC9-D2DE12A6DC9A}"/>
                </a:ext>
              </a:extLst>
            </p:cNvPr>
            <p:cNvCxnSpPr>
              <a:cxnSpLocks/>
              <a:stCxn id="131" idx="2"/>
              <a:endCxn id="121" idx="0"/>
            </p:cNvCxnSpPr>
            <p:nvPr/>
          </p:nvCxnSpPr>
          <p:spPr>
            <a:xfrm>
              <a:off x="9875591" y="4456251"/>
              <a:ext cx="0" cy="949791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Rechte verbindingslijn met pijl 112">
              <a:extLst>
                <a:ext uri="{FF2B5EF4-FFF2-40B4-BE49-F238E27FC236}">
                  <a16:creationId xmlns:a16="http://schemas.microsoft.com/office/drawing/2014/main" id="{8D6F8E06-7ABB-498F-9DEC-6CB6B654D53C}"/>
                </a:ext>
              </a:extLst>
            </p:cNvPr>
            <p:cNvCxnSpPr>
              <a:cxnSpLocks/>
              <a:stCxn id="96" idx="2"/>
              <a:endCxn id="131" idx="1"/>
            </p:cNvCxnSpPr>
            <p:nvPr/>
          </p:nvCxnSpPr>
          <p:spPr>
            <a:xfrm rot="16200000" flipH="1">
              <a:off x="8130657" y="2871837"/>
              <a:ext cx="761582" cy="1813886"/>
            </a:xfrm>
            <a:prstGeom prst="bentConnector2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Rechthoek: afgeronde hoeken 54">
            <a:extLst>
              <a:ext uri="{FF2B5EF4-FFF2-40B4-BE49-F238E27FC236}">
                <a16:creationId xmlns:a16="http://schemas.microsoft.com/office/drawing/2014/main" id="{6E4A4625-D57E-4888-8249-46FBA41767F4}"/>
              </a:ext>
            </a:extLst>
          </p:cNvPr>
          <p:cNvSpPr/>
          <p:nvPr/>
        </p:nvSpPr>
        <p:spPr>
          <a:xfrm>
            <a:off x="5164119" y="914052"/>
            <a:ext cx="2150546" cy="5092481"/>
          </a:xfrm>
          <a:prstGeom prst="roundRect">
            <a:avLst/>
          </a:prstGeom>
          <a:solidFill>
            <a:srgbClr val="ED737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L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Rechthoek: afgeronde hoeken 59">
            <a:extLst>
              <a:ext uri="{FF2B5EF4-FFF2-40B4-BE49-F238E27FC236}">
                <a16:creationId xmlns:a16="http://schemas.microsoft.com/office/drawing/2014/main" id="{6E4CD8AE-07B1-41B3-A5F9-C6FAAA58EB9B}"/>
              </a:ext>
            </a:extLst>
          </p:cNvPr>
          <p:cNvSpPr/>
          <p:nvPr/>
        </p:nvSpPr>
        <p:spPr>
          <a:xfrm>
            <a:off x="5284658" y="1034399"/>
            <a:ext cx="1909469" cy="4851787"/>
          </a:xfrm>
          <a:prstGeom prst="roundRect">
            <a:avLst/>
          </a:prstGeom>
          <a:solidFill>
            <a:srgbClr val="FCE8E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PMA</a:t>
            </a:r>
            <a:endParaRPr lang="en-NL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1" name="Rechthoek 60">
            <a:extLst>
              <a:ext uri="{FF2B5EF4-FFF2-40B4-BE49-F238E27FC236}">
                <a16:creationId xmlns:a16="http://schemas.microsoft.com/office/drawing/2014/main" id="{3C9FCF47-59FA-4F8F-A7AD-6D4826BA774A}"/>
              </a:ext>
            </a:extLst>
          </p:cNvPr>
          <p:cNvSpPr/>
          <p:nvPr/>
        </p:nvSpPr>
        <p:spPr>
          <a:xfrm>
            <a:off x="5679445" y="4517260"/>
            <a:ext cx="1119895" cy="1119895"/>
          </a:xfrm>
          <a:prstGeom prst="rect">
            <a:avLst/>
          </a:prstGeom>
          <a:blipFill dpi="0" rotWithShape="1">
            <a:blip r:embed="rId6">
              <a:alphaModFix amt="6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2" name="Ovaal 61">
            <a:extLst>
              <a:ext uri="{FF2B5EF4-FFF2-40B4-BE49-F238E27FC236}">
                <a16:creationId xmlns:a16="http://schemas.microsoft.com/office/drawing/2014/main" id="{F7E06807-5C0E-4E9E-9CAB-04F16AA8B344}"/>
              </a:ext>
            </a:extLst>
          </p:cNvPr>
          <p:cNvSpPr/>
          <p:nvPr/>
        </p:nvSpPr>
        <p:spPr>
          <a:xfrm>
            <a:off x="6043724" y="1859245"/>
            <a:ext cx="391335" cy="391335"/>
          </a:xfrm>
          <a:prstGeom prst="ellipse">
            <a:avLst/>
          </a:prstGeom>
          <a:solidFill>
            <a:srgbClr val="E4282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65BB52DA-EBF4-4D29-986C-276E73A1172E}"/>
              </a:ext>
            </a:extLst>
          </p:cNvPr>
          <p:cNvGrpSpPr/>
          <p:nvPr/>
        </p:nvGrpSpPr>
        <p:grpSpPr>
          <a:xfrm>
            <a:off x="6435059" y="1728084"/>
            <a:ext cx="1909950" cy="706646"/>
            <a:chOff x="6435059" y="1728084"/>
            <a:chExt cx="1909950" cy="706646"/>
          </a:xfrm>
        </p:grpSpPr>
        <p:cxnSp>
          <p:nvCxnSpPr>
            <p:cNvPr id="63" name="Rechte verbindingslijn met pijl 62">
              <a:extLst>
                <a:ext uri="{FF2B5EF4-FFF2-40B4-BE49-F238E27FC236}">
                  <a16:creationId xmlns:a16="http://schemas.microsoft.com/office/drawing/2014/main" id="{4A55F7AA-15B8-4AD3-8A9E-C38DB61800B7}"/>
                </a:ext>
              </a:extLst>
            </p:cNvPr>
            <p:cNvCxnSpPr>
              <a:cxnSpLocks/>
              <a:stCxn id="62" idx="6"/>
              <a:endCxn id="12" idx="2"/>
            </p:cNvCxnSpPr>
            <p:nvPr/>
          </p:nvCxnSpPr>
          <p:spPr>
            <a:xfrm flipV="1">
              <a:off x="6435059" y="2048556"/>
              <a:ext cx="1909950" cy="6357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Afbeelding 15">
              <a:extLst>
                <a:ext uri="{FF2B5EF4-FFF2-40B4-BE49-F238E27FC236}">
                  <a16:creationId xmlns:a16="http://schemas.microsoft.com/office/drawing/2014/main" id="{DA01665A-4531-4E5D-B329-30E3AE35AD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6472" y="1728084"/>
              <a:ext cx="706646" cy="706646"/>
            </a:xfrm>
            <a:prstGeom prst="rect">
              <a:avLst/>
            </a:prstGeom>
          </p:spPr>
        </p:pic>
      </p:grpSp>
      <p:cxnSp>
        <p:nvCxnSpPr>
          <p:cNvPr id="67" name="Rechte verbindingslijn met pijl 66">
            <a:extLst>
              <a:ext uri="{FF2B5EF4-FFF2-40B4-BE49-F238E27FC236}">
                <a16:creationId xmlns:a16="http://schemas.microsoft.com/office/drawing/2014/main" id="{AA5333B8-CAEC-466D-8B46-99071EFC7475}"/>
              </a:ext>
            </a:extLst>
          </p:cNvPr>
          <p:cNvCxnSpPr/>
          <p:nvPr/>
        </p:nvCxnSpPr>
        <p:spPr>
          <a:xfrm flipV="1">
            <a:off x="8736344" y="2051734"/>
            <a:ext cx="1609903" cy="1"/>
          </a:xfrm>
          <a:prstGeom prst="straightConnector1">
            <a:avLst/>
          </a:prstGeom>
          <a:ln w="38100">
            <a:solidFill>
              <a:srgbClr val="E428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Rechte verbindingslijn met pijl 67">
            <a:extLst>
              <a:ext uri="{FF2B5EF4-FFF2-40B4-BE49-F238E27FC236}">
                <a16:creationId xmlns:a16="http://schemas.microsoft.com/office/drawing/2014/main" id="{C2F6202B-9418-4FC1-A8F5-E52A6F4C2F31}"/>
              </a:ext>
            </a:extLst>
          </p:cNvPr>
          <p:cNvCxnSpPr>
            <a:cxnSpLocks/>
          </p:cNvCxnSpPr>
          <p:nvPr/>
        </p:nvCxnSpPr>
        <p:spPr>
          <a:xfrm>
            <a:off x="10794807" y="2331207"/>
            <a:ext cx="1" cy="427071"/>
          </a:xfrm>
          <a:prstGeom prst="straightConnector1">
            <a:avLst/>
          </a:prstGeom>
          <a:ln w="38100">
            <a:solidFill>
              <a:srgbClr val="E428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Rechte verbindingslijn met pijl 68">
            <a:extLst>
              <a:ext uri="{FF2B5EF4-FFF2-40B4-BE49-F238E27FC236}">
                <a16:creationId xmlns:a16="http://schemas.microsoft.com/office/drawing/2014/main" id="{5A5D1FE2-DE94-4901-82B2-9E44D1EF867D}"/>
              </a:ext>
            </a:extLst>
          </p:cNvPr>
          <p:cNvCxnSpPr>
            <a:cxnSpLocks/>
          </p:cNvCxnSpPr>
          <p:nvPr/>
        </p:nvCxnSpPr>
        <p:spPr>
          <a:xfrm flipH="1">
            <a:off x="8998477" y="3100918"/>
            <a:ext cx="763767" cy="0"/>
          </a:xfrm>
          <a:prstGeom prst="straightConnector1">
            <a:avLst/>
          </a:prstGeom>
          <a:ln w="38100">
            <a:solidFill>
              <a:srgbClr val="E428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Rechte verbindingslijn met pijl 69">
            <a:extLst>
              <a:ext uri="{FF2B5EF4-FFF2-40B4-BE49-F238E27FC236}">
                <a16:creationId xmlns:a16="http://schemas.microsoft.com/office/drawing/2014/main" id="{14C596A1-B81B-4FF0-9A31-F2552F4D8280}"/>
              </a:ext>
            </a:extLst>
          </p:cNvPr>
          <p:cNvCxnSpPr>
            <a:cxnSpLocks/>
            <a:endCxn id="96" idx="0"/>
          </p:cNvCxnSpPr>
          <p:nvPr/>
        </p:nvCxnSpPr>
        <p:spPr>
          <a:xfrm flipH="1">
            <a:off x="8540676" y="2242439"/>
            <a:ext cx="2" cy="561409"/>
          </a:xfrm>
          <a:prstGeom prst="straightConnector1">
            <a:avLst/>
          </a:prstGeom>
          <a:ln w="38100">
            <a:solidFill>
              <a:srgbClr val="E428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Rechte verbindingslijn met pijl 112">
            <a:extLst>
              <a:ext uri="{FF2B5EF4-FFF2-40B4-BE49-F238E27FC236}">
                <a16:creationId xmlns:a16="http://schemas.microsoft.com/office/drawing/2014/main" id="{FD505207-0FB0-4543-877C-FCC548A02835}"/>
              </a:ext>
            </a:extLst>
          </p:cNvPr>
          <p:cNvCxnSpPr>
            <a:cxnSpLocks/>
          </p:cNvCxnSpPr>
          <p:nvPr/>
        </p:nvCxnSpPr>
        <p:spPr>
          <a:xfrm rot="16200000" flipH="1">
            <a:off x="9058513" y="2879779"/>
            <a:ext cx="761582" cy="1813886"/>
          </a:xfrm>
          <a:prstGeom prst="bentConnector2">
            <a:avLst/>
          </a:prstGeom>
          <a:ln w="38100">
            <a:solidFill>
              <a:srgbClr val="E428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hoek: afgeronde hoeken 71">
            <a:extLst>
              <a:ext uri="{FF2B5EF4-FFF2-40B4-BE49-F238E27FC236}">
                <a16:creationId xmlns:a16="http://schemas.microsoft.com/office/drawing/2014/main" id="{7062B284-E445-4186-B5BA-7DD59EDC3EE1}"/>
              </a:ext>
            </a:extLst>
          </p:cNvPr>
          <p:cNvSpPr/>
          <p:nvPr/>
        </p:nvSpPr>
        <p:spPr>
          <a:xfrm>
            <a:off x="10352119" y="3859907"/>
            <a:ext cx="914400" cy="59336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/>
              <a:t>LOG ACTIVITY</a:t>
            </a:r>
            <a:endParaRPr lang="en-NL" sz="1100" dirty="0"/>
          </a:p>
        </p:txBody>
      </p:sp>
      <p:cxnSp>
        <p:nvCxnSpPr>
          <p:cNvPr id="73" name="Rechte verbindingslijn met pijl 72">
            <a:extLst>
              <a:ext uri="{FF2B5EF4-FFF2-40B4-BE49-F238E27FC236}">
                <a16:creationId xmlns:a16="http://schemas.microsoft.com/office/drawing/2014/main" id="{7E627E8B-4F91-4849-8FFC-5C4B35D2FF10}"/>
              </a:ext>
            </a:extLst>
          </p:cNvPr>
          <p:cNvCxnSpPr>
            <a:cxnSpLocks/>
          </p:cNvCxnSpPr>
          <p:nvPr/>
        </p:nvCxnSpPr>
        <p:spPr>
          <a:xfrm>
            <a:off x="10820077" y="4456251"/>
            <a:ext cx="0" cy="949791"/>
          </a:xfrm>
          <a:prstGeom prst="straightConnector1">
            <a:avLst/>
          </a:prstGeom>
          <a:ln w="38100">
            <a:solidFill>
              <a:srgbClr val="E428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ep 36">
            <a:extLst>
              <a:ext uri="{FF2B5EF4-FFF2-40B4-BE49-F238E27FC236}">
                <a16:creationId xmlns:a16="http://schemas.microsoft.com/office/drawing/2014/main" id="{2D659D7C-CB1E-4E49-BE10-7B7D605F46CA}"/>
              </a:ext>
            </a:extLst>
          </p:cNvPr>
          <p:cNvGrpSpPr/>
          <p:nvPr/>
        </p:nvGrpSpPr>
        <p:grpSpPr>
          <a:xfrm>
            <a:off x="5781589" y="2250580"/>
            <a:ext cx="2301285" cy="1145245"/>
            <a:chOff x="5781589" y="2250580"/>
            <a:chExt cx="2301285" cy="1145245"/>
          </a:xfrm>
        </p:grpSpPr>
        <p:sp>
          <p:nvSpPr>
            <p:cNvPr id="75" name="Rechthoek: afgeronde hoeken 74">
              <a:extLst>
                <a:ext uri="{FF2B5EF4-FFF2-40B4-BE49-F238E27FC236}">
                  <a16:creationId xmlns:a16="http://schemas.microsoft.com/office/drawing/2014/main" id="{BA92E88E-1B5A-4A3C-989C-03F25C493FAD}"/>
                </a:ext>
              </a:extLst>
            </p:cNvPr>
            <p:cNvSpPr/>
            <p:nvPr/>
          </p:nvSpPr>
          <p:spPr>
            <a:xfrm>
              <a:off x="5781589" y="2801684"/>
              <a:ext cx="915603" cy="594141"/>
            </a:xfrm>
            <a:prstGeom prst="roundRect">
              <a:avLst/>
            </a:prstGeom>
            <a:solidFill>
              <a:srgbClr val="ED777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100" dirty="0"/>
                <a:t>UPDATE USER PROFILE</a:t>
              </a:r>
              <a:endParaRPr lang="en-NL" sz="1100" dirty="0"/>
            </a:p>
          </p:txBody>
        </p:sp>
        <p:grpSp>
          <p:nvGrpSpPr>
            <p:cNvPr id="36" name="Groep 35">
              <a:extLst>
                <a:ext uri="{FF2B5EF4-FFF2-40B4-BE49-F238E27FC236}">
                  <a16:creationId xmlns:a16="http://schemas.microsoft.com/office/drawing/2014/main" id="{5954D9EA-5757-41E9-B4DE-C779210BE18F}"/>
                </a:ext>
              </a:extLst>
            </p:cNvPr>
            <p:cNvGrpSpPr/>
            <p:nvPr/>
          </p:nvGrpSpPr>
          <p:grpSpPr>
            <a:xfrm>
              <a:off x="6697192" y="2944866"/>
              <a:ext cx="1385682" cy="307777"/>
              <a:chOff x="6697192" y="2944866"/>
              <a:chExt cx="1385682" cy="307777"/>
            </a:xfrm>
          </p:grpSpPr>
          <p:cxnSp>
            <p:nvCxnSpPr>
              <p:cNvPr id="76" name="Rechte verbindingslijn met pijl 75">
                <a:extLst>
                  <a:ext uri="{FF2B5EF4-FFF2-40B4-BE49-F238E27FC236}">
                    <a16:creationId xmlns:a16="http://schemas.microsoft.com/office/drawing/2014/main" id="{7E5CC11D-998D-4F31-A14E-51F8401B3F68}"/>
                  </a:ext>
                </a:extLst>
              </p:cNvPr>
              <p:cNvCxnSpPr>
                <a:cxnSpLocks/>
                <a:stCxn id="96" idx="1"/>
                <a:endCxn id="80" idx="3"/>
              </p:cNvCxnSpPr>
              <p:nvPr/>
            </p:nvCxnSpPr>
            <p:spPr>
              <a:xfrm flipH="1" flipV="1">
                <a:off x="7900538" y="3098755"/>
                <a:ext cx="182336" cy="2164"/>
              </a:xfrm>
              <a:prstGeom prst="straightConnector1">
                <a:avLst/>
              </a:prstGeom>
              <a:ln w="38100">
                <a:solidFill>
                  <a:schemeClr val="bg1">
                    <a:lumMod val="50000"/>
                  </a:schemeClr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Tekstvak 79">
                <a:extLst>
                  <a:ext uri="{FF2B5EF4-FFF2-40B4-BE49-F238E27FC236}">
                    <a16:creationId xmlns:a16="http://schemas.microsoft.com/office/drawing/2014/main" id="{4583650E-381F-40A0-85FC-FC2A09F0E2FE}"/>
                  </a:ext>
                </a:extLst>
              </p:cNvPr>
              <p:cNvSpPr txBox="1"/>
              <p:nvPr/>
            </p:nvSpPr>
            <p:spPr>
              <a:xfrm>
                <a:off x="6962385" y="2944866"/>
                <a:ext cx="9381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EEDBACK</a:t>
                </a:r>
                <a:endParaRPr lang="en-NL" sz="14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cxnSp>
            <p:nvCxnSpPr>
              <p:cNvPr id="82" name="Rechte verbindingslijn met pijl 81">
                <a:extLst>
                  <a:ext uri="{FF2B5EF4-FFF2-40B4-BE49-F238E27FC236}">
                    <a16:creationId xmlns:a16="http://schemas.microsoft.com/office/drawing/2014/main" id="{06BA7CFE-0A4B-4A79-81AD-CCC467832162}"/>
                  </a:ext>
                </a:extLst>
              </p:cNvPr>
              <p:cNvCxnSpPr>
                <a:cxnSpLocks/>
                <a:stCxn id="80" idx="1"/>
                <a:endCxn id="75" idx="3"/>
              </p:cNvCxnSpPr>
              <p:nvPr/>
            </p:nvCxnSpPr>
            <p:spPr>
              <a:xfrm flipH="1">
                <a:off x="6697192" y="3098755"/>
                <a:ext cx="265193" cy="0"/>
              </a:xfrm>
              <a:prstGeom prst="straightConnector1">
                <a:avLst/>
              </a:prstGeom>
              <a:ln w="38100">
                <a:solidFill>
                  <a:schemeClr val="bg1">
                    <a:lumMod val="50000"/>
                  </a:schemeClr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1" name="Rechte verbindingslijn met pijl 90">
              <a:extLst>
                <a:ext uri="{FF2B5EF4-FFF2-40B4-BE49-F238E27FC236}">
                  <a16:creationId xmlns:a16="http://schemas.microsoft.com/office/drawing/2014/main" id="{783B2D12-D860-48A4-BF92-90EC4A8430E7}"/>
                </a:ext>
              </a:extLst>
            </p:cNvPr>
            <p:cNvCxnSpPr>
              <a:cxnSpLocks/>
              <a:stCxn id="75" idx="0"/>
              <a:endCxn id="62" idx="4"/>
            </p:cNvCxnSpPr>
            <p:nvPr/>
          </p:nvCxnSpPr>
          <p:spPr>
            <a:xfrm flipV="1">
              <a:off x="6239391" y="2250580"/>
              <a:ext cx="1" cy="551104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809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MA requirements</a:t>
            </a:r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F273344-6048-47D8-A36C-CA7EEDADF392}"/>
              </a:ext>
            </a:extLst>
          </p:cNvPr>
          <p:cNvGrpSpPr/>
          <p:nvPr/>
        </p:nvGrpSpPr>
        <p:grpSpPr>
          <a:xfrm>
            <a:off x="1650490" y="1496910"/>
            <a:ext cx="8891020" cy="4591289"/>
            <a:chOff x="1650490" y="1496910"/>
            <a:chExt cx="8891020" cy="4591289"/>
          </a:xfrm>
        </p:grpSpPr>
        <p:grpSp>
          <p:nvGrpSpPr>
            <p:cNvPr id="7" name="Groep 6">
              <a:extLst>
                <a:ext uri="{FF2B5EF4-FFF2-40B4-BE49-F238E27FC236}">
                  <a16:creationId xmlns:a16="http://schemas.microsoft.com/office/drawing/2014/main" id="{54B014DD-7BB2-48D3-A006-4DA84D51171A}"/>
                </a:ext>
              </a:extLst>
            </p:cNvPr>
            <p:cNvGrpSpPr/>
            <p:nvPr/>
          </p:nvGrpSpPr>
          <p:grpSpPr>
            <a:xfrm>
              <a:off x="1691100" y="2397483"/>
              <a:ext cx="2592109" cy="584775"/>
              <a:chOff x="1691100" y="2397483"/>
              <a:chExt cx="2592109" cy="584775"/>
            </a:xfrm>
          </p:grpSpPr>
          <p:sp>
            <p:nvSpPr>
              <p:cNvPr id="97" name="TextBox 62">
                <a:extLst>
                  <a:ext uri="{FF2B5EF4-FFF2-40B4-BE49-F238E27FC236}">
                    <a16:creationId xmlns:a16="http://schemas.microsoft.com/office/drawing/2014/main" id="{C87CE2D8-8C6C-4918-97C3-551BB1CF80E2}"/>
                  </a:ext>
                </a:extLst>
              </p:cNvPr>
              <p:cNvSpPr txBox="1"/>
              <p:nvPr/>
            </p:nvSpPr>
            <p:spPr>
              <a:xfrm>
                <a:off x="2378925" y="2397483"/>
                <a:ext cx="1904284" cy="584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User profiles</a:t>
                </a:r>
              </a:p>
              <a:p>
                <a:pPr>
                  <a:buClr>
                    <a:schemeClr val="accent1"/>
                  </a:buClr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dentify individual users and their estimated personalities</a:t>
                </a:r>
              </a:p>
            </p:txBody>
          </p:sp>
          <p:sp>
            <p:nvSpPr>
              <p:cNvPr id="98" name="TextBox 63">
                <a:extLst>
                  <a:ext uri="{FF2B5EF4-FFF2-40B4-BE49-F238E27FC236}">
                    <a16:creationId xmlns:a16="http://schemas.microsoft.com/office/drawing/2014/main" id="{CB5CCE53-7B4A-49B4-BD29-CBBFE9C6C5E6}"/>
                  </a:ext>
                </a:extLst>
              </p:cNvPr>
              <p:cNvSpPr txBox="1"/>
              <p:nvPr/>
            </p:nvSpPr>
            <p:spPr>
              <a:xfrm>
                <a:off x="1691100" y="2412439"/>
                <a:ext cx="468427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3600" b="1" dirty="0">
                    <a:solidFill>
                      <a:srgbClr val="C81919"/>
                    </a:solidFill>
                  </a:rPr>
                  <a:t>A</a:t>
                </a:r>
              </a:p>
            </p:txBody>
          </p:sp>
        </p:grpSp>
        <p:grpSp>
          <p:nvGrpSpPr>
            <p:cNvPr id="107" name="Groep 106">
              <a:extLst>
                <a:ext uri="{FF2B5EF4-FFF2-40B4-BE49-F238E27FC236}">
                  <a16:creationId xmlns:a16="http://schemas.microsoft.com/office/drawing/2014/main" id="{1A2F0473-AD01-4BA3-81E4-BDAE2B78ED7E}"/>
                </a:ext>
              </a:extLst>
            </p:cNvPr>
            <p:cNvGrpSpPr/>
            <p:nvPr/>
          </p:nvGrpSpPr>
          <p:grpSpPr>
            <a:xfrm>
              <a:off x="4789620" y="2393109"/>
              <a:ext cx="2592109" cy="584775"/>
              <a:chOff x="1691100" y="2397483"/>
              <a:chExt cx="2592109" cy="584775"/>
            </a:xfrm>
          </p:grpSpPr>
          <p:sp>
            <p:nvSpPr>
              <p:cNvPr id="108" name="TextBox 62">
                <a:extLst>
                  <a:ext uri="{FF2B5EF4-FFF2-40B4-BE49-F238E27FC236}">
                    <a16:creationId xmlns:a16="http://schemas.microsoft.com/office/drawing/2014/main" id="{D5813F2E-680A-4FAC-BE52-E8278C0542DE}"/>
                  </a:ext>
                </a:extLst>
              </p:cNvPr>
              <p:cNvSpPr txBox="1"/>
              <p:nvPr/>
            </p:nvSpPr>
            <p:spPr>
              <a:xfrm>
                <a:off x="2378925" y="2397483"/>
                <a:ext cx="1904284" cy="584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rategy selection</a:t>
                </a:r>
              </a:p>
              <a:p>
                <a:pPr>
                  <a:buClr>
                    <a:schemeClr val="accent1"/>
                  </a:buClr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lear protocol of what strategy to choose</a:t>
                </a:r>
              </a:p>
            </p:txBody>
          </p:sp>
          <p:sp>
            <p:nvSpPr>
              <p:cNvPr id="109" name="TextBox 63">
                <a:extLst>
                  <a:ext uri="{FF2B5EF4-FFF2-40B4-BE49-F238E27FC236}">
                    <a16:creationId xmlns:a16="http://schemas.microsoft.com/office/drawing/2014/main" id="{6C5CAAF9-3AB7-4B63-8301-A40B9DBA9677}"/>
                  </a:ext>
                </a:extLst>
              </p:cNvPr>
              <p:cNvSpPr txBox="1"/>
              <p:nvPr/>
            </p:nvSpPr>
            <p:spPr>
              <a:xfrm>
                <a:off x="1691100" y="2412439"/>
                <a:ext cx="468427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3600" b="1" dirty="0">
                    <a:solidFill>
                      <a:srgbClr val="726C6C"/>
                    </a:solidFill>
                  </a:rPr>
                  <a:t>C</a:t>
                </a:r>
              </a:p>
            </p:txBody>
          </p:sp>
        </p:grpSp>
        <p:grpSp>
          <p:nvGrpSpPr>
            <p:cNvPr id="110" name="Groep 109">
              <a:extLst>
                <a:ext uri="{FF2B5EF4-FFF2-40B4-BE49-F238E27FC236}">
                  <a16:creationId xmlns:a16="http://schemas.microsoft.com/office/drawing/2014/main" id="{99BC571C-C2E6-4FD9-A6D8-F712204F0D4B}"/>
                </a:ext>
              </a:extLst>
            </p:cNvPr>
            <p:cNvGrpSpPr/>
            <p:nvPr/>
          </p:nvGrpSpPr>
          <p:grpSpPr>
            <a:xfrm>
              <a:off x="7888141" y="2373811"/>
              <a:ext cx="2592109" cy="584775"/>
              <a:chOff x="1691100" y="2397483"/>
              <a:chExt cx="2592109" cy="584775"/>
            </a:xfrm>
          </p:grpSpPr>
          <p:sp>
            <p:nvSpPr>
              <p:cNvPr id="111" name="TextBox 62">
                <a:extLst>
                  <a:ext uri="{FF2B5EF4-FFF2-40B4-BE49-F238E27FC236}">
                    <a16:creationId xmlns:a16="http://schemas.microsoft.com/office/drawing/2014/main" id="{443859DF-6B7E-4DF9-ACE4-BC9E23991524}"/>
                  </a:ext>
                </a:extLst>
              </p:cNvPr>
              <p:cNvSpPr txBox="1"/>
              <p:nvPr/>
            </p:nvSpPr>
            <p:spPr>
              <a:xfrm>
                <a:off x="2378925" y="2397483"/>
                <a:ext cx="1904284" cy="584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earning rules</a:t>
                </a:r>
              </a:p>
              <a:p>
                <a:pPr>
                  <a:buClr>
                    <a:schemeClr val="accent1"/>
                  </a:buClr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How to update profiles based on reactions to messages</a:t>
                </a:r>
              </a:p>
            </p:txBody>
          </p:sp>
          <p:sp>
            <p:nvSpPr>
              <p:cNvPr id="112" name="TextBox 63">
                <a:extLst>
                  <a:ext uri="{FF2B5EF4-FFF2-40B4-BE49-F238E27FC236}">
                    <a16:creationId xmlns:a16="http://schemas.microsoft.com/office/drawing/2014/main" id="{1E3F41CA-CBB7-4D2A-B444-DB73CAFFCBF7}"/>
                  </a:ext>
                </a:extLst>
              </p:cNvPr>
              <p:cNvSpPr txBox="1"/>
              <p:nvPr/>
            </p:nvSpPr>
            <p:spPr>
              <a:xfrm>
                <a:off x="1691100" y="2412439"/>
                <a:ext cx="468427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3600" b="1" dirty="0">
                    <a:solidFill>
                      <a:srgbClr val="ED7777"/>
                    </a:solidFill>
                  </a:rPr>
                  <a:t>E</a:t>
                </a:r>
              </a:p>
            </p:txBody>
          </p:sp>
        </p:grp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5BDC3BD2-F957-4F94-8E7B-922BC5F5B559}"/>
                </a:ext>
              </a:extLst>
            </p:cNvPr>
            <p:cNvGrpSpPr/>
            <p:nvPr/>
          </p:nvGrpSpPr>
          <p:grpSpPr>
            <a:xfrm>
              <a:off x="3314800" y="1496910"/>
              <a:ext cx="2592109" cy="584775"/>
              <a:chOff x="1691100" y="2397483"/>
              <a:chExt cx="2592109" cy="584775"/>
            </a:xfrm>
          </p:grpSpPr>
          <p:sp>
            <p:nvSpPr>
              <p:cNvPr id="114" name="TextBox 62">
                <a:extLst>
                  <a:ext uri="{FF2B5EF4-FFF2-40B4-BE49-F238E27FC236}">
                    <a16:creationId xmlns:a16="http://schemas.microsoft.com/office/drawing/2014/main" id="{8C36E30A-40B3-44DC-B108-96FEF651356D}"/>
                  </a:ext>
                </a:extLst>
              </p:cNvPr>
              <p:cNvSpPr txBox="1"/>
              <p:nvPr/>
            </p:nvSpPr>
            <p:spPr>
              <a:xfrm>
                <a:off x="2378925" y="2397483"/>
                <a:ext cx="1904284" cy="584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essage framing</a:t>
                </a:r>
              </a:p>
              <a:p>
                <a:pPr>
                  <a:buClr>
                    <a:schemeClr val="accent1"/>
                  </a:buClr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rame messages according to a certain persuasion strategy</a:t>
                </a:r>
              </a:p>
            </p:txBody>
          </p:sp>
          <p:sp>
            <p:nvSpPr>
              <p:cNvPr id="115" name="TextBox 63">
                <a:extLst>
                  <a:ext uri="{FF2B5EF4-FFF2-40B4-BE49-F238E27FC236}">
                    <a16:creationId xmlns:a16="http://schemas.microsoft.com/office/drawing/2014/main" id="{B9938AAF-A4FE-4522-A364-71BAC5D78E37}"/>
                  </a:ext>
                </a:extLst>
              </p:cNvPr>
              <p:cNvSpPr txBox="1"/>
              <p:nvPr/>
            </p:nvSpPr>
            <p:spPr>
              <a:xfrm>
                <a:off x="1691100" y="2412439"/>
                <a:ext cx="468427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3600" b="1" dirty="0">
                    <a:solidFill>
                      <a:srgbClr val="ED7777"/>
                    </a:solidFill>
                  </a:rPr>
                  <a:t>B</a:t>
                </a:r>
              </a:p>
            </p:txBody>
          </p:sp>
        </p:grpSp>
        <p:grpSp>
          <p:nvGrpSpPr>
            <p:cNvPr id="116" name="Groep 115">
              <a:extLst>
                <a:ext uri="{FF2B5EF4-FFF2-40B4-BE49-F238E27FC236}">
                  <a16:creationId xmlns:a16="http://schemas.microsoft.com/office/drawing/2014/main" id="{0C8E647C-39AB-4F7C-B452-F2A33E5104BB}"/>
                </a:ext>
              </a:extLst>
            </p:cNvPr>
            <p:cNvGrpSpPr/>
            <p:nvPr/>
          </p:nvGrpSpPr>
          <p:grpSpPr>
            <a:xfrm>
              <a:off x="6501043" y="1496910"/>
              <a:ext cx="2592109" cy="584775"/>
              <a:chOff x="1691100" y="2397483"/>
              <a:chExt cx="2592109" cy="584775"/>
            </a:xfrm>
          </p:grpSpPr>
          <p:sp>
            <p:nvSpPr>
              <p:cNvPr id="117" name="TextBox 62">
                <a:extLst>
                  <a:ext uri="{FF2B5EF4-FFF2-40B4-BE49-F238E27FC236}">
                    <a16:creationId xmlns:a16="http://schemas.microsoft.com/office/drawing/2014/main" id="{81073515-76AF-41B7-89D3-0691617BF5C7}"/>
                  </a:ext>
                </a:extLst>
              </p:cNvPr>
              <p:cNvSpPr txBox="1"/>
              <p:nvPr/>
            </p:nvSpPr>
            <p:spPr>
              <a:xfrm>
                <a:off x="2378925" y="2397483"/>
                <a:ext cx="1904284" cy="584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ffectiveness metric</a:t>
                </a:r>
              </a:p>
              <a:p>
                <a:pPr>
                  <a:buClr>
                    <a:schemeClr val="accent1"/>
                  </a:buClr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easure if message was effective</a:t>
                </a:r>
              </a:p>
            </p:txBody>
          </p:sp>
          <p:sp>
            <p:nvSpPr>
              <p:cNvPr id="118" name="TextBox 63">
                <a:extLst>
                  <a:ext uri="{FF2B5EF4-FFF2-40B4-BE49-F238E27FC236}">
                    <a16:creationId xmlns:a16="http://schemas.microsoft.com/office/drawing/2014/main" id="{85779372-81EC-4823-818B-E4832EA31473}"/>
                  </a:ext>
                </a:extLst>
              </p:cNvPr>
              <p:cNvSpPr txBox="1"/>
              <p:nvPr/>
            </p:nvSpPr>
            <p:spPr>
              <a:xfrm>
                <a:off x="1691100" y="2412439"/>
                <a:ext cx="468427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3600" b="1" dirty="0">
                    <a:solidFill>
                      <a:srgbClr val="C81919"/>
                    </a:solidFill>
                  </a:rPr>
                  <a:t>D</a:t>
                </a:r>
              </a:p>
            </p:txBody>
          </p:sp>
        </p:grp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8495AE13-EEEA-4CB0-9C32-DFE988255A47}"/>
                </a:ext>
              </a:extLst>
            </p:cNvPr>
            <p:cNvGrpSpPr/>
            <p:nvPr/>
          </p:nvGrpSpPr>
          <p:grpSpPr>
            <a:xfrm>
              <a:off x="1650490" y="3250758"/>
              <a:ext cx="8891020" cy="2837441"/>
              <a:chOff x="1650490" y="3250758"/>
              <a:chExt cx="8891020" cy="2837441"/>
            </a:xfrm>
          </p:grpSpPr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770B2F9F-C7B1-486C-9CF2-F13E7F0E9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4568" y="4109787"/>
                <a:ext cx="1486942" cy="1119383"/>
              </a:xfrm>
              <a:custGeom>
                <a:avLst/>
                <a:gdLst>
                  <a:gd name="T0" fmla="*/ 0 w 1068"/>
                  <a:gd name="T1" fmla="*/ 617 h 804"/>
                  <a:gd name="T2" fmla="*/ 0 w 1068"/>
                  <a:gd name="T3" fmla="*/ 804 h 804"/>
                  <a:gd name="T4" fmla="*/ 1068 w 1068"/>
                  <a:gd name="T5" fmla="*/ 187 h 804"/>
                  <a:gd name="T6" fmla="*/ 1068 w 1068"/>
                  <a:gd name="T7" fmla="*/ 0 h 804"/>
                  <a:gd name="T8" fmla="*/ 0 w 1068"/>
                  <a:gd name="T9" fmla="*/ 617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8" h="804">
                    <a:moveTo>
                      <a:pt x="0" y="617"/>
                    </a:moveTo>
                    <a:lnTo>
                      <a:pt x="0" y="804"/>
                    </a:lnTo>
                    <a:lnTo>
                      <a:pt x="1068" y="187"/>
                    </a:lnTo>
                    <a:lnTo>
                      <a:pt x="1068" y="0"/>
                    </a:lnTo>
                    <a:lnTo>
                      <a:pt x="0" y="617"/>
                    </a:lnTo>
                    <a:close/>
                  </a:path>
                </a:pathLst>
              </a:custGeom>
              <a:solidFill>
                <a:srgbClr val="F39F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DDE6F9AA-8AF1-46EB-9FFA-B55980CC3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7372" y="3250758"/>
                <a:ext cx="2964138" cy="1718058"/>
              </a:xfrm>
              <a:custGeom>
                <a:avLst/>
                <a:gdLst>
                  <a:gd name="T0" fmla="*/ 0 w 2129"/>
                  <a:gd name="T1" fmla="*/ 617 h 1234"/>
                  <a:gd name="T2" fmla="*/ 1061 w 2129"/>
                  <a:gd name="T3" fmla="*/ 1234 h 1234"/>
                  <a:gd name="T4" fmla="*/ 2129 w 2129"/>
                  <a:gd name="T5" fmla="*/ 617 h 1234"/>
                  <a:gd name="T6" fmla="*/ 1069 w 2129"/>
                  <a:gd name="T7" fmla="*/ 0 h 1234"/>
                  <a:gd name="T8" fmla="*/ 0 w 2129"/>
                  <a:gd name="T9" fmla="*/ 617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9" h="1234">
                    <a:moveTo>
                      <a:pt x="0" y="617"/>
                    </a:moveTo>
                    <a:lnTo>
                      <a:pt x="1061" y="1234"/>
                    </a:lnTo>
                    <a:lnTo>
                      <a:pt x="2129" y="617"/>
                    </a:lnTo>
                    <a:lnTo>
                      <a:pt x="1069" y="0"/>
                    </a:lnTo>
                    <a:lnTo>
                      <a:pt x="0" y="61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D92E8E10-7700-45AA-B23A-CE3702B6B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8632" y="3284172"/>
                <a:ext cx="2841618" cy="1651229"/>
              </a:xfrm>
              <a:custGeom>
                <a:avLst/>
                <a:gdLst>
                  <a:gd name="T0" fmla="*/ 0 w 2041"/>
                  <a:gd name="T1" fmla="*/ 593 h 1186"/>
                  <a:gd name="T2" fmla="*/ 1025 w 2041"/>
                  <a:gd name="T3" fmla="*/ 0 h 1186"/>
                  <a:gd name="T4" fmla="*/ 2041 w 2041"/>
                  <a:gd name="T5" fmla="*/ 593 h 1186"/>
                  <a:gd name="T6" fmla="*/ 1017 w 2041"/>
                  <a:gd name="T7" fmla="*/ 1186 h 1186"/>
                  <a:gd name="T8" fmla="*/ 0 w 2041"/>
                  <a:gd name="T9" fmla="*/ 593 h 1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41" h="1186">
                    <a:moveTo>
                      <a:pt x="0" y="593"/>
                    </a:moveTo>
                    <a:lnTo>
                      <a:pt x="1025" y="0"/>
                    </a:lnTo>
                    <a:lnTo>
                      <a:pt x="2041" y="593"/>
                    </a:lnTo>
                    <a:lnTo>
                      <a:pt x="1017" y="1186"/>
                    </a:lnTo>
                    <a:lnTo>
                      <a:pt x="0" y="593"/>
                    </a:lnTo>
                    <a:close/>
                  </a:path>
                </a:pathLst>
              </a:custGeom>
              <a:solidFill>
                <a:srgbClr val="F39F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4DD6D16-2083-4C3E-BB1E-2BB4BD3AF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7626" y="4109787"/>
                <a:ext cx="1486942" cy="1119383"/>
              </a:xfrm>
              <a:custGeom>
                <a:avLst/>
                <a:gdLst>
                  <a:gd name="T0" fmla="*/ 1068 w 1068"/>
                  <a:gd name="T1" fmla="*/ 617 h 804"/>
                  <a:gd name="T2" fmla="*/ 1068 w 1068"/>
                  <a:gd name="T3" fmla="*/ 804 h 804"/>
                  <a:gd name="T4" fmla="*/ 0 w 1068"/>
                  <a:gd name="T5" fmla="*/ 187 h 804"/>
                  <a:gd name="T6" fmla="*/ 7 w 1068"/>
                  <a:gd name="T7" fmla="*/ 0 h 804"/>
                  <a:gd name="T8" fmla="*/ 1068 w 1068"/>
                  <a:gd name="T9" fmla="*/ 617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8" h="804">
                    <a:moveTo>
                      <a:pt x="1068" y="617"/>
                    </a:moveTo>
                    <a:lnTo>
                      <a:pt x="1068" y="804"/>
                    </a:lnTo>
                    <a:lnTo>
                      <a:pt x="0" y="187"/>
                    </a:lnTo>
                    <a:lnTo>
                      <a:pt x="7" y="0"/>
                    </a:lnTo>
                    <a:lnTo>
                      <a:pt x="1068" y="617"/>
                    </a:lnTo>
                    <a:close/>
                  </a:path>
                </a:pathLst>
              </a:custGeom>
              <a:solidFill>
                <a:srgbClr val="209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F4E29A15-9A6B-4FE0-AE76-E2B44B054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6317" y="4109787"/>
                <a:ext cx="448310" cy="537415"/>
              </a:xfrm>
              <a:custGeom>
                <a:avLst/>
                <a:gdLst>
                  <a:gd name="T0" fmla="*/ 5 w 81"/>
                  <a:gd name="T1" fmla="*/ 44 h 97"/>
                  <a:gd name="T2" fmla="*/ 4 w 81"/>
                  <a:gd name="T3" fmla="*/ 44 h 97"/>
                  <a:gd name="T4" fmla="*/ 4 w 81"/>
                  <a:gd name="T5" fmla="*/ 45 h 97"/>
                  <a:gd name="T6" fmla="*/ 3 w 81"/>
                  <a:gd name="T7" fmla="*/ 45 h 97"/>
                  <a:gd name="T8" fmla="*/ 3 w 81"/>
                  <a:gd name="T9" fmla="*/ 45 h 97"/>
                  <a:gd name="T10" fmla="*/ 3 w 81"/>
                  <a:gd name="T11" fmla="*/ 46 h 97"/>
                  <a:gd name="T12" fmla="*/ 2 w 81"/>
                  <a:gd name="T13" fmla="*/ 46 h 97"/>
                  <a:gd name="T14" fmla="*/ 2 w 81"/>
                  <a:gd name="T15" fmla="*/ 46 h 97"/>
                  <a:gd name="T16" fmla="*/ 2 w 81"/>
                  <a:gd name="T17" fmla="*/ 47 h 97"/>
                  <a:gd name="T18" fmla="*/ 1 w 81"/>
                  <a:gd name="T19" fmla="*/ 47 h 97"/>
                  <a:gd name="T20" fmla="*/ 1 w 81"/>
                  <a:gd name="T21" fmla="*/ 47 h 97"/>
                  <a:gd name="T22" fmla="*/ 1 w 81"/>
                  <a:gd name="T23" fmla="*/ 47 h 97"/>
                  <a:gd name="T24" fmla="*/ 1 w 81"/>
                  <a:gd name="T25" fmla="*/ 48 h 97"/>
                  <a:gd name="T26" fmla="*/ 1 w 81"/>
                  <a:gd name="T27" fmla="*/ 48 h 97"/>
                  <a:gd name="T28" fmla="*/ 1 w 81"/>
                  <a:gd name="T29" fmla="*/ 48 h 97"/>
                  <a:gd name="T30" fmla="*/ 0 w 81"/>
                  <a:gd name="T31" fmla="*/ 49 h 97"/>
                  <a:gd name="T32" fmla="*/ 0 w 81"/>
                  <a:gd name="T33" fmla="*/ 49 h 97"/>
                  <a:gd name="T34" fmla="*/ 0 w 81"/>
                  <a:gd name="T35" fmla="*/ 49 h 97"/>
                  <a:gd name="T36" fmla="*/ 0 w 81"/>
                  <a:gd name="T37" fmla="*/ 49 h 97"/>
                  <a:gd name="T38" fmla="*/ 0 w 81"/>
                  <a:gd name="T39" fmla="*/ 50 h 97"/>
                  <a:gd name="T40" fmla="*/ 0 w 81"/>
                  <a:gd name="T41" fmla="*/ 50 h 97"/>
                  <a:gd name="T42" fmla="*/ 0 w 81"/>
                  <a:gd name="T43" fmla="*/ 50 h 97"/>
                  <a:gd name="T44" fmla="*/ 0 w 81"/>
                  <a:gd name="T45" fmla="*/ 50 h 97"/>
                  <a:gd name="T46" fmla="*/ 0 w 81"/>
                  <a:gd name="T47" fmla="*/ 97 h 97"/>
                  <a:gd name="T48" fmla="*/ 0 w 81"/>
                  <a:gd name="T49" fmla="*/ 97 h 97"/>
                  <a:gd name="T50" fmla="*/ 0 w 81"/>
                  <a:gd name="T51" fmla="*/ 96 h 97"/>
                  <a:gd name="T52" fmla="*/ 0 w 81"/>
                  <a:gd name="T53" fmla="*/ 96 h 97"/>
                  <a:gd name="T54" fmla="*/ 0 w 81"/>
                  <a:gd name="T55" fmla="*/ 96 h 97"/>
                  <a:gd name="T56" fmla="*/ 0 w 81"/>
                  <a:gd name="T57" fmla="*/ 95 h 97"/>
                  <a:gd name="T58" fmla="*/ 1 w 81"/>
                  <a:gd name="T59" fmla="*/ 95 h 97"/>
                  <a:gd name="T60" fmla="*/ 1 w 81"/>
                  <a:gd name="T61" fmla="*/ 94 h 97"/>
                  <a:gd name="T62" fmla="*/ 1 w 81"/>
                  <a:gd name="T63" fmla="*/ 94 h 97"/>
                  <a:gd name="T64" fmla="*/ 1 w 81"/>
                  <a:gd name="T65" fmla="*/ 93 h 97"/>
                  <a:gd name="T66" fmla="*/ 2 w 81"/>
                  <a:gd name="T67" fmla="*/ 93 h 97"/>
                  <a:gd name="T68" fmla="*/ 2 w 81"/>
                  <a:gd name="T69" fmla="*/ 93 h 97"/>
                  <a:gd name="T70" fmla="*/ 3 w 81"/>
                  <a:gd name="T71" fmla="*/ 92 h 97"/>
                  <a:gd name="T72" fmla="*/ 3 w 81"/>
                  <a:gd name="T73" fmla="*/ 92 h 97"/>
                  <a:gd name="T74" fmla="*/ 4 w 81"/>
                  <a:gd name="T75" fmla="*/ 91 h 97"/>
                  <a:gd name="T76" fmla="*/ 4 w 81"/>
                  <a:gd name="T77" fmla="*/ 91 h 97"/>
                  <a:gd name="T78" fmla="*/ 81 w 81"/>
                  <a:gd name="T79" fmla="*/ 47 h 97"/>
                  <a:gd name="T80" fmla="*/ 81 w 81"/>
                  <a:gd name="T81" fmla="*/ 0 h 97"/>
                  <a:gd name="T82" fmla="*/ 5 w 81"/>
                  <a:gd name="T83" fmla="*/ 4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97">
                    <a:moveTo>
                      <a:pt x="5" y="44"/>
                    </a:moveTo>
                    <a:cubicBezTo>
                      <a:pt x="5" y="44"/>
                      <a:pt x="4" y="44"/>
                      <a:pt x="4" y="44"/>
                    </a:cubicBezTo>
                    <a:cubicBezTo>
                      <a:pt x="4" y="44"/>
                      <a:pt x="4" y="44"/>
                      <a:pt x="4" y="45"/>
                    </a:cubicBezTo>
                    <a:cubicBezTo>
                      <a:pt x="4" y="45"/>
                      <a:pt x="4" y="45"/>
                      <a:pt x="3" y="45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3" y="45"/>
                      <a:pt x="3" y="46"/>
                      <a:pt x="3" y="46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2" y="46"/>
                      <a:pt x="2" y="47"/>
                    </a:cubicBezTo>
                    <a:cubicBezTo>
                      <a:pt x="2" y="47"/>
                      <a:pt x="1" y="47"/>
                      <a:pt x="1" y="47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0" y="48"/>
                      <a:pt x="0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50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97"/>
                      <a:pt x="0" y="97"/>
                      <a:pt x="0" y="96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95"/>
                      <a:pt x="1" y="95"/>
                      <a:pt x="1" y="95"/>
                    </a:cubicBezTo>
                    <a:cubicBezTo>
                      <a:pt x="1" y="95"/>
                      <a:pt x="1" y="94"/>
                      <a:pt x="1" y="94"/>
                    </a:cubicBezTo>
                    <a:cubicBezTo>
                      <a:pt x="1" y="94"/>
                      <a:pt x="1" y="94"/>
                      <a:pt x="1" y="94"/>
                    </a:cubicBezTo>
                    <a:cubicBezTo>
                      <a:pt x="1" y="94"/>
                      <a:pt x="1" y="94"/>
                      <a:pt x="1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3" y="92"/>
                      <a:pt x="3" y="92"/>
                      <a:pt x="3" y="92"/>
                    </a:cubicBezTo>
                    <a:cubicBezTo>
                      <a:pt x="3" y="92"/>
                      <a:pt x="3" y="92"/>
                      <a:pt x="3" y="92"/>
                    </a:cubicBezTo>
                    <a:cubicBezTo>
                      <a:pt x="3" y="92"/>
                      <a:pt x="4" y="92"/>
                      <a:pt x="4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1" y="0"/>
                      <a:pt x="81" y="0"/>
                      <a:pt x="81" y="0"/>
                    </a:cubicBezTo>
                    <a:lnTo>
                      <a:pt x="5" y="44"/>
                    </a:lnTo>
                    <a:close/>
                  </a:path>
                </a:pathLst>
              </a:custGeom>
              <a:solidFill>
                <a:srgbClr val="BC60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026898BB-D26E-4226-BE51-14E9E02B6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0490" y="3250758"/>
                <a:ext cx="2964138" cy="1718058"/>
              </a:xfrm>
              <a:custGeom>
                <a:avLst/>
                <a:gdLst>
                  <a:gd name="T0" fmla="*/ 536 w 536"/>
                  <a:gd name="T1" fmla="*/ 155 h 310"/>
                  <a:gd name="T2" fmla="*/ 460 w 536"/>
                  <a:gd name="T3" fmla="*/ 199 h 310"/>
                  <a:gd name="T4" fmla="*/ 460 w 536"/>
                  <a:gd name="T5" fmla="*/ 212 h 310"/>
                  <a:gd name="T6" fmla="*/ 465 w 536"/>
                  <a:gd name="T7" fmla="*/ 214 h 310"/>
                  <a:gd name="T8" fmla="*/ 491 w 536"/>
                  <a:gd name="T9" fmla="*/ 224 h 310"/>
                  <a:gd name="T10" fmla="*/ 493 w 536"/>
                  <a:gd name="T11" fmla="*/ 225 h 310"/>
                  <a:gd name="T12" fmla="*/ 493 w 536"/>
                  <a:gd name="T13" fmla="*/ 282 h 310"/>
                  <a:gd name="T14" fmla="*/ 387 w 536"/>
                  <a:gd name="T15" fmla="*/ 284 h 310"/>
                  <a:gd name="T16" fmla="*/ 371 w 536"/>
                  <a:gd name="T17" fmla="*/ 269 h 310"/>
                  <a:gd name="T18" fmla="*/ 367 w 536"/>
                  <a:gd name="T19" fmla="*/ 266 h 310"/>
                  <a:gd name="T20" fmla="*/ 345 w 536"/>
                  <a:gd name="T21" fmla="*/ 266 h 310"/>
                  <a:gd name="T22" fmla="*/ 269 w 536"/>
                  <a:gd name="T23" fmla="*/ 310 h 310"/>
                  <a:gd name="T24" fmla="*/ 0 w 536"/>
                  <a:gd name="T25" fmla="*/ 155 h 310"/>
                  <a:gd name="T26" fmla="*/ 267 w 536"/>
                  <a:gd name="T27" fmla="*/ 0 h 310"/>
                  <a:gd name="T28" fmla="*/ 536 w 536"/>
                  <a:gd name="T29" fmla="*/ 155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6" h="310">
                    <a:moveTo>
                      <a:pt x="536" y="155"/>
                    </a:moveTo>
                    <a:cubicBezTo>
                      <a:pt x="460" y="199"/>
                      <a:pt x="460" y="199"/>
                      <a:pt x="460" y="199"/>
                    </a:cubicBezTo>
                    <a:cubicBezTo>
                      <a:pt x="453" y="203"/>
                      <a:pt x="454" y="209"/>
                      <a:pt x="460" y="212"/>
                    </a:cubicBezTo>
                    <a:cubicBezTo>
                      <a:pt x="461" y="213"/>
                      <a:pt x="463" y="213"/>
                      <a:pt x="465" y="214"/>
                    </a:cubicBezTo>
                    <a:cubicBezTo>
                      <a:pt x="474" y="216"/>
                      <a:pt x="483" y="219"/>
                      <a:pt x="491" y="224"/>
                    </a:cubicBezTo>
                    <a:cubicBezTo>
                      <a:pt x="492" y="224"/>
                      <a:pt x="493" y="225"/>
                      <a:pt x="493" y="225"/>
                    </a:cubicBezTo>
                    <a:cubicBezTo>
                      <a:pt x="519" y="241"/>
                      <a:pt x="519" y="266"/>
                      <a:pt x="493" y="282"/>
                    </a:cubicBezTo>
                    <a:cubicBezTo>
                      <a:pt x="465" y="300"/>
                      <a:pt x="417" y="301"/>
                      <a:pt x="387" y="284"/>
                    </a:cubicBezTo>
                    <a:cubicBezTo>
                      <a:pt x="380" y="279"/>
                      <a:pt x="374" y="274"/>
                      <a:pt x="371" y="269"/>
                    </a:cubicBezTo>
                    <a:cubicBezTo>
                      <a:pt x="370" y="268"/>
                      <a:pt x="369" y="267"/>
                      <a:pt x="367" y="266"/>
                    </a:cubicBezTo>
                    <a:cubicBezTo>
                      <a:pt x="361" y="262"/>
                      <a:pt x="351" y="262"/>
                      <a:pt x="345" y="266"/>
                    </a:cubicBezTo>
                    <a:cubicBezTo>
                      <a:pt x="269" y="310"/>
                      <a:pt x="269" y="310"/>
                      <a:pt x="269" y="310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267" y="0"/>
                      <a:pt x="267" y="0"/>
                      <a:pt x="267" y="0"/>
                    </a:cubicBezTo>
                    <a:lnTo>
                      <a:pt x="536" y="15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B4ED6C9A-C4DA-49CC-B9CD-1DDDD2A33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1750" y="3284172"/>
                <a:ext cx="2841618" cy="1651229"/>
              </a:xfrm>
              <a:custGeom>
                <a:avLst/>
                <a:gdLst>
                  <a:gd name="T0" fmla="*/ 0 w 514"/>
                  <a:gd name="T1" fmla="*/ 149 h 298"/>
                  <a:gd name="T2" fmla="*/ 256 w 514"/>
                  <a:gd name="T3" fmla="*/ 0 h 298"/>
                  <a:gd name="T4" fmla="*/ 514 w 514"/>
                  <a:gd name="T5" fmla="*/ 149 h 298"/>
                  <a:gd name="T6" fmla="*/ 446 w 514"/>
                  <a:gd name="T7" fmla="*/ 188 h 298"/>
                  <a:gd name="T8" fmla="*/ 439 w 514"/>
                  <a:gd name="T9" fmla="*/ 200 h 298"/>
                  <a:gd name="T10" fmla="*/ 446 w 514"/>
                  <a:gd name="T11" fmla="*/ 211 h 298"/>
                  <a:gd name="T12" fmla="*/ 453 w 514"/>
                  <a:gd name="T13" fmla="*/ 213 h 298"/>
                  <a:gd name="T14" fmla="*/ 477 w 514"/>
                  <a:gd name="T15" fmla="*/ 222 h 298"/>
                  <a:gd name="T16" fmla="*/ 480 w 514"/>
                  <a:gd name="T17" fmla="*/ 224 h 298"/>
                  <a:gd name="T18" fmla="*/ 496 w 514"/>
                  <a:gd name="T19" fmla="*/ 248 h 298"/>
                  <a:gd name="T20" fmla="*/ 479 w 514"/>
                  <a:gd name="T21" fmla="*/ 272 h 298"/>
                  <a:gd name="T22" fmla="*/ 428 w 514"/>
                  <a:gd name="T23" fmla="*/ 285 h 298"/>
                  <a:gd name="T24" fmla="*/ 379 w 514"/>
                  <a:gd name="T25" fmla="*/ 273 h 298"/>
                  <a:gd name="T26" fmla="*/ 364 w 514"/>
                  <a:gd name="T27" fmla="*/ 260 h 298"/>
                  <a:gd name="T28" fmla="*/ 359 w 514"/>
                  <a:gd name="T29" fmla="*/ 255 h 298"/>
                  <a:gd name="T30" fmla="*/ 345 w 514"/>
                  <a:gd name="T31" fmla="*/ 252 h 298"/>
                  <a:gd name="T32" fmla="*/ 331 w 514"/>
                  <a:gd name="T33" fmla="*/ 255 h 298"/>
                  <a:gd name="T34" fmla="*/ 258 w 514"/>
                  <a:gd name="T35" fmla="*/ 298 h 298"/>
                  <a:gd name="T36" fmla="*/ 0 w 514"/>
                  <a:gd name="T37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4" h="298">
                    <a:moveTo>
                      <a:pt x="0" y="149"/>
                    </a:moveTo>
                    <a:cubicBezTo>
                      <a:pt x="256" y="0"/>
                      <a:pt x="256" y="0"/>
                      <a:pt x="256" y="0"/>
                    </a:cubicBezTo>
                    <a:cubicBezTo>
                      <a:pt x="514" y="149"/>
                      <a:pt x="514" y="149"/>
                      <a:pt x="514" y="149"/>
                    </a:cubicBezTo>
                    <a:cubicBezTo>
                      <a:pt x="446" y="188"/>
                      <a:pt x="446" y="188"/>
                      <a:pt x="446" y="188"/>
                    </a:cubicBezTo>
                    <a:cubicBezTo>
                      <a:pt x="441" y="191"/>
                      <a:pt x="439" y="195"/>
                      <a:pt x="439" y="200"/>
                    </a:cubicBezTo>
                    <a:cubicBezTo>
                      <a:pt x="439" y="204"/>
                      <a:pt x="441" y="208"/>
                      <a:pt x="446" y="211"/>
                    </a:cubicBezTo>
                    <a:cubicBezTo>
                      <a:pt x="448" y="212"/>
                      <a:pt x="450" y="213"/>
                      <a:pt x="453" y="213"/>
                    </a:cubicBezTo>
                    <a:cubicBezTo>
                      <a:pt x="462" y="215"/>
                      <a:pt x="470" y="218"/>
                      <a:pt x="477" y="222"/>
                    </a:cubicBezTo>
                    <a:cubicBezTo>
                      <a:pt x="478" y="223"/>
                      <a:pt x="479" y="223"/>
                      <a:pt x="480" y="224"/>
                    </a:cubicBezTo>
                    <a:cubicBezTo>
                      <a:pt x="490" y="231"/>
                      <a:pt x="496" y="239"/>
                      <a:pt x="496" y="248"/>
                    </a:cubicBezTo>
                    <a:cubicBezTo>
                      <a:pt x="496" y="257"/>
                      <a:pt x="490" y="265"/>
                      <a:pt x="479" y="272"/>
                    </a:cubicBezTo>
                    <a:cubicBezTo>
                      <a:pt x="466" y="280"/>
                      <a:pt x="448" y="285"/>
                      <a:pt x="428" y="285"/>
                    </a:cubicBezTo>
                    <a:cubicBezTo>
                      <a:pt x="410" y="285"/>
                      <a:pt x="392" y="281"/>
                      <a:pt x="379" y="273"/>
                    </a:cubicBezTo>
                    <a:cubicBezTo>
                      <a:pt x="372" y="269"/>
                      <a:pt x="367" y="265"/>
                      <a:pt x="364" y="260"/>
                    </a:cubicBezTo>
                    <a:cubicBezTo>
                      <a:pt x="363" y="258"/>
                      <a:pt x="361" y="256"/>
                      <a:pt x="359" y="255"/>
                    </a:cubicBezTo>
                    <a:cubicBezTo>
                      <a:pt x="355" y="253"/>
                      <a:pt x="350" y="252"/>
                      <a:pt x="345" y="252"/>
                    </a:cubicBezTo>
                    <a:cubicBezTo>
                      <a:pt x="340" y="252"/>
                      <a:pt x="335" y="253"/>
                      <a:pt x="331" y="255"/>
                    </a:cubicBezTo>
                    <a:cubicBezTo>
                      <a:pt x="258" y="298"/>
                      <a:pt x="258" y="298"/>
                      <a:pt x="258" y="298"/>
                    </a:cubicBez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95EF641E-B809-4506-AF57-366CC8C1D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32" y="4658341"/>
                <a:ext cx="1343538" cy="570830"/>
              </a:xfrm>
              <a:custGeom>
                <a:avLst/>
                <a:gdLst>
                  <a:gd name="T0" fmla="*/ 243 w 243"/>
                  <a:gd name="T1" fmla="*/ 4 h 103"/>
                  <a:gd name="T2" fmla="*/ 242 w 243"/>
                  <a:gd name="T3" fmla="*/ 8 h 103"/>
                  <a:gd name="T4" fmla="*/ 240 w 243"/>
                  <a:gd name="T5" fmla="*/ 13 h 103"/>
                  <a:gd name="T6" fmla="*/ 237 w 243"/>
                  <a:gd name="T7" fmla="*/ 17 h 103"/>
                  <a:gd name="T8" fmla="*/ 232 w 243"/>
                  <a:gd name="T9" fmla="*/ 22 h 103"/>
                  <a:gd name="T10" fmla="*/ 228 w 243"/>
                  <a:gd name="T11" fmla="*/ 25 h 103"/>
                  <a:gd name="T12" fmla="*/ 222 w 243"/>
                  <a:gd name="T13" fmla="*/ 29 h 103"/>
                  <a:gd name="T14" fmla="*/ 214 w 243"/>
                  <a:gd name="T15" fmla="*/ 34 h 103"/>
                  <a:gd name="T16" fmla="*/ 205 w 243"/>
                  <a:gd name="T17" fmla="*/ 37 h 103"/>
                  <a:gd name="T18" fmla="*/ 198 w 243"/>
                  <a:gd name="T19" fmla="*/ 39 h 103"/>
                  <a:gd name="T20" fmla="*/ 191 w 243"/>
                  <a:gd name="T21" fmla="*/ 40 h 103"/>
                  <a:gd name="T22" fmla="*/ 183 w 243"/>
                  <a:gd name="T23" fmla="*/ 42 h 103"/>
                  <a:gd name="T24" fmla="*/ 173 w 243"/>
                  <a:gd name="T25" fmla="*/ 42 h 103"/>
                  <a:gd name="T26" fmla="*/ 166 w 243"/>
                  <a:gd name="T27" fmla="*/ 42 h 103"/>
                  <a:gd name="T28" fmla="*/ 159 w 243"/>
                  <a:gd name="T29" fmla="*/ 42 h 103"/>
                  <a:gd name="T30" fmla="*/ 152 w 243"/>
                  <a:gd name="T31" fmla="*/ 41 h 103"/>
                  <a:gd name="T32" fmla="*/ 145 w 243"/>
                  <a:gd name="T33" fmla="*/ 39 h 103"/>
                  <a:gd name="T34" fmla="*/ 137 w 243"/>
                  <a:gd name="T35" fmla="*/ 38 h 103"/>
                  <a:gd name="T36" fmla="*/ 128 w 243"/>
                  <a:gd name="T37" fmla="*/ 34 h 103"/>
                  <a:gd name="T38" fmla="*/ 122 w 243"/>
                  <a:gd name="T39" fmla="*/ 32 h 103"/>
                  <a:gd name="T40" fmla="*/ 98 w 243"/>
                  <a:gd name="T41" fmla="*/ 12 h 103"/>
                  <a:gd name="T42" fmla="*/ 96 w 243"/>
                  <a:gd name="T43" fmla="*/ 11 h 103"/>
                  <a:gd name="T44" fmla="*/ 93 w 243"/>
                  <a:gd name="T45" fmla="*/ 10 h 103"/>
                  <a:gd name="T46" fmla="*/ 91 w 243"/>
                  <a:gd name="T47" fmla="*/ 9 h 103"/>
                  <a:gd name="T48" fmla="*/ 89 w 243"/>
                  <a:gd name="T49" fmla="*/ 9 h 103"/>
                  <a:gd name="T50" fmla="*/ 87 w 243"/>
                  <a:gd name="T51" fmla="*/ 9 h 103"/>
                  <a:gd name="T52" fmla="*/ 84 w 243"/>
                  <a:gd name="T53" fmla="*/ 9 h 103"/>
                  <a:gd name="T54" fmla="*/ 82 w 243"/>
                  <a:gd name="T55" fmla="*/ 10 h 103"/>
                  <a:gd name="T56" fmla="*/ 80 w 243"/>
                  <a:gd name="T57" fmla="*/ 10 h 103"/>
                  <a:gd name="T58" fmla="*/ 76 w 243"/>
                  <a:gd name="T59" fmla="*/ 12 h 103"/>
                  <a:gd name="T60" fmla="*/ 77 w 243"/>
                  <a:gd name="T61" fmla="*/ 58 h 103"/>
                  <a:gd name="T62" fmla="*/ 80 w 243"/>
                  <a:gd name="T63" fmla="*/ 57 h 103"/>
                  <a:gd name="T64" fmla="*/ 84 w 243"/>
                  <a:gd name="T65" fmla="*/ 56 h 103"/>
                  <a:gd name="T66" fmla="*/ 87 w 243"/>
                  <a:gd name="T67" fmla="*/ 56 h 103"/>
                  <a:gd name="T68" fmla="*/ 90 w 243"/>
                  <a:gd name="T69" fmla="*/ 56 h 103"/>
                  <a:gd name="T70" fmla="*/ 94 w 243"/>
                  <a:gd name="T71" fmla="*/ 57 h 103"/>
                  <a:gd name="T72" fmla="*/ 97 w 243"/>
                  <a:gd name="T73" fmla="*/ 58 h 103"/>
                  <a:gd name="T74" fmla="*/ 121 w 243"/>
                  <a:gd name="T75" fmla="*/ 78 h 103"/>
                  <a:gd name="T76" fmla="*/ 127 w 243"/>
                  <a:gd name="T77" fmla="*/ 81 h 103"/>
                  <a:gd name="T78" fmla="*/ 133 w 243"/>
                  <a:gd name="T79" fmla="*/ 83 h 103"/>
                  <a:gd name="T80" fmla="*/ 139 w 243"/>
                  <a:gd name="T81" fmla="*/ 85 h 103"/>
                  <a:gd name="T82" fmla="*/ 145 w 243"/>
                  <a:gd name="T83" fmla="*/ 86 h 103"/>
                  <a:gd name="T84" fmla="*/ 151 w 243"/>
                  <a:gd name="T85" fmla="*/ 88 h 103"/>
                  <a:gd name="T86" fmla="*/ 157 w 243"/>
                  <a:gd name="T87" fmla="*/ 88 h 103"/>
                  <a:gd name="T88" fmla="*/ 162 w 243"/>
                  <a:gd name="T89" fmla="*/ 89 h 103"/>
                  <a:gd name="T90" fmla="*/ 167 w 243"/>
                  <a:gd name="T91" fmla="*/ 89 h 103"/>
                  <a:gd name="T92" fmla="*/ 175 w 243"/>
                  <a:gd name="T93" fmla="*/ 89 h 103"/>
                  <a:gd name="T94" fmla="*/ 182 w 243"/>
                  <a:gd name="T95" fmla="*/ 88 h 103"/>
                  <a:gd name="T96" fmla="*/ 188 w 243"/>
                  <a:gd name="T97" fmla="*/ 88 h 103"/>
                  <a:gd name="T98" fmla="*/ 194 w 243"/>
                  <a:gd name="T99" fmla="*/ 87 h 103"/>
                  <a:gd name="T100" fmla="*/ 201 w 243"/>
                  <a:gd name="T101" fmla="*/ 85 h 103"/>
                  <a:gd name="T102" fmla="*/ 206 w 243"/>
                  <a:gd name="T103" fmla="*/ 84 h 103"/>
                  <a:gd name="T104" fmla="*/ 215 w 243"/>
                  <a:gd name="T105" fmla="*/ 80 h 103"/>
                  <a:gd name="T106" fmla="*/ 223 w 243"/>
                  <a:gd name="T107" fmla="*/ 76 h 103"/>
                  <a:gd name="T108" fmla="*/ 228 w 243"/>
                  <a:gd name="T109" fmla="*/ 72 h 103"/>
                  <a:gd name="T110" fmla="*/ 232 w 243"/>
                  <a:gd name="T111" fmla="*/ 69 h 103"/>
                  <a:gd name="T112" fmla="*/ 236 w 243"/>
                  <a:gd name="T113" fmla="*/ 65 h 103"/>
                  <a:gd name="T114" fmla="*/ 238 w 243"/>
                  <a:gd name="T115" fmla="*/ 62 h 103"/>
                  <a:gd name="T116" fmla="*/ 241 w 243"/>
                  <a:gd name="T117" fmla="*/ 58 h 103"/>
                  <a:gd name="T118" fmla="*/ 242 w 243"/>
                  <a:gd name="T119" fmla="*/ 55 h 103"/>
                  <a:gd name="T120" fmla="*/ 243 w 243"/>
                  <a:gd name="T121" fmla="*/ 52 h 103"/>
                  <a:gd name="T122" fmla="*/ 243 w 243"/>
                  <a:gd name="T123" fmla="*/ 48 h 103"/>
                  <a:gd name="T124" fmla="*/ 243 w 243"/>
                  <a:gd name="T125" fmla="*/ 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103">
                    <a:moveTo>
                      <a:pt x="243" y="1"/>
                    </a:moveTo>
                    <a:cubicBezTo>
                      <a:pt x="243" y="1"/>
                      <a:pt x="243" y="2"/>
                      <a:pt x="243" y="2"/>
                    </a:cubicBezTo>
                    <a:cubicBezTo>
                      <a:pt x="243" y="2"/>
                      <a:pt x="243" y="3"/>
                      <a:pt x="243" y="3"/>
                    </a:cubicBezTo>
                    <a:cubicBezTo>
                      <a:pt x="243" y="3"/>
                      <a:pt x="243" y="4"/>
                      <a:pt x="243" y="4"/>
                    </a:cubicBezTo>
                    <a:cubicBezTo>
                      <a:pt x="243" y="5"/>
                      <a:pt x="243" y="5"/>
                      <a:pt x="243" y="5"/>
                    </a:cubicBezTo>
                    <a:cubicBezTo>
                      <a:pt x="243" y="6"/>
                      <a:pt x="243" y="6"/>
                      <a:pt x="242" y="6"/>
                    </a:cubicBezTo>
                    <a:cubicBezTo>
                      <a:pt x="242" y="7"/>
                      <a:pt x="242" y="7"/>
                      <a:pt x="242" y="7"/>
                    </a:cubicBezTo>
                    <a:cubicBezTo>
                      <a:pt x="242" y="8"/>
                      <a:pt x="242" y="8"/>
                      <a:pt x="242" y="8"/>
                    </a:cubicBezTo>
                    <a:cubicBezTo>
                      <a:pt x="242" y="9"/>
                      <a:pt x="242" y="9"/>
                      <a:pt x="242" y="9"/>
                    </a:cubicBezTo>
                    <a:cubicBezTo>
                      <a:pt x="241" y="10"/>
                      <a:pt x="241" y="10"/>
                      <a:pt x="241" y="10"/>
                    </a:cubicBezTo>
                    <a:cubicBezTo>
                      <a:pt x="241" y="11"/>
                      <a:pt x="241" y="11"/>
                      <a:pt x="241" y="11"/>
                    </a:cubicBezTo>
                    <a:cubicBezTo>
                      <a:pt x="240" y="12"/>
                      <a:pt x="240" y="12"/>
                      <a:pt x="240" y="13"/>
                    </a:cubicBezTo>
                    <a:cubicBezTo>
                      <a:pt x="240" y="13"/>
                      <a:pt x="240" y="13"/>
                      <a:pt x="240" y="13"/>
                    </a:cubicBezTo>
                    <a:cubicBezTo>
                      <a:pt x="239" y="14"/>
                      <a:pt x="239" y="14"/>
                      <a:pt x="238" y="15"/>
                    </a:cubicBezTo>
                    <a:cubicBezTo>
                      <a:pt x="238" y="15"/>
                      <a:pt x="238" y="16"/>
                      <a:pt x="238" y="16"/>
                    </a:cubicBezTo>
                    <a:cubicBezTo>
                      <a:pt x="238" y="16"/>
                      <a:pt x="237" y="17"/>
                      <a:pt x="237" y="17"/>
                    </a:cubicBezTo>
                    <a:cubicBezTo>
                      <a:pt x="237" y="17"/>
                      <a:pt x="237" y="18"/>
                      <a:pt x="236" y="18"/>
                    </a:cubicBezTo>
                    <a:cubicBezTo>
                      <a:pt x="236" y="18"/>
                      <a:pt x="235" y="19"/>
                      <a:pt x="235" y="20"/>
                    </a:cubicBezTo>
                    <a:cubicBezTo>
                      <a:pt x="235" y="20"/>
                      <a:pt x="235" y="20"/>
                      <a:pt x="234" y="20"/>
                    </a:cubicBezTo>
                    <a:cubicBezTo>
                      <a:pt x="234" y="21"/>
                      <a:pt x="233" y="22"/>
                      <a:pt x="232" y="22"/>
                    </a:cubicBezTo>
                    <a:cubicBezTo>
                      <a:pt x="232" y="23"/>
                      <a:pt x="232" y="23"/>
                      <a:pt x="231" y="23"/>
                    </a:cubicBezTo>
                    <a:cubicBezTo>
                      <a:pt x="231" y="23"/>
                      <a:pt x="231" y="24"/>
                      <a:pt x="230" y="24"/>
                    </a:cubicBezTo>
                    <a:cubicBezTo>
                      <a:pt x="230" y="24"/>
                      <a:pt x="230" y="24"/>
                      <a:pt x="229" y="25"/>
                    </a:cubicBezTo>
                    <a:cubicBezTo>
                      <a:pt x="229" y="25"/>
                      <a:pt x="229" y="25"/>
                      <a:pt x="228" y="25"/>
                    </a:cubicBezTo>
                    <a:cubicBezTo>
                      <a:pt x="228" y="26"/>
                      <a:pt x="228" y="26"/>
                      <a:pt x="227" y="26"/>
                    </a:cubicBezTo>
                    <a:cubicBezTo>
                      <a:pt x="227" y="27"/>
                      <a:pt x="227" y="27"/>
                      <a:pt x="226" y="27"/>
                    </a:cubicBezTo>
                    <a:cubicBezTo>
                      <a:pt x="226" y="27"/>
                      <a:pt x="225" y="28"/>
                      <a:pt x="224" y="28"/>
                    </a:cubicBezTo>
                    <a:cubicBezTo>
                      <a:pt x="224" y="29"/>
                      <a:pt x="223" y="29"/>
                      <a:pt x="222" y="29"/>
                    </a:cubicBezTo>
                    <a:cubicBezTo>
                      <a:pt x="221" y="30"/>
                      <a:pt x="220" y="31"/>
                      <a:pt x="219" y="31"/>
                    </a:cubicBezTo>
                    <a:cubicBezTo>
                      <a:pt x="219" y="31"/>
                      <a:pt x="219" y="31"/>
                      <a:pt x="219" y="31"/>
                    </a:cubicBezTo>
                    <a:cubicBezTo>
                      <a:pt x="218" y="32"/>
                      <a:pt x="216" y="33"/>
                      <a:pt x="215" y="33"/>
                    </a:cubicBezTo>
                    <a:cubicBezTo>
                      <a:pt x="215" y="33"/>
                      <a:pt x="214" y="34"/>
                      <a:pt x="214" y="34"/>
                    </a:cubicBezTo>
                    <a:cubicBezTo>
                      <a:pt x="213" y="34"/>
                      <a:pt x="212" y="35"/>
                      <a:pt x="211" y="35"/>
                    </a:cubicBezTo>
                    <a:cubicBezTo>
                      <a:pt x="211" y="35"/>
                      <a:pt x="210" y="35"/>
                      <a:pt x="210" y="35"/>
                    </a:cubicBezTo>
                    <a:cubicBezTo>
                      <a:pt x="209" y="36"/>
                      <a:pt x="207" y="36"/>
                      <a:pt x="206" y="37"/>
                    </a:cubicBezTo>
                    <a:cubicBezTo>
                      <a:pt x="206" y="37"/>
                      <a:pt x="205" y="37"/>
                      <a:pt x="205" y="37"/>
                    </a:cubicBezTo>
                    <a:cubicBezTo>
                      <a:pt x="204" y="37"/>
                      <a:pt x="203" y="38"/>
                      <a:pt x="203" y="38"/>
                    </a:cubicBezTo>
                    <a:cubicBezTo>
                      <a:pt x="202" y="38"/>
                      <a:pt x="202" y="38"/>
                      <a:pt x="201" y="38"/>
                    </a:cubicBezTo>
                    <a:cubicBezTo>
                      <a:pt x="201" y="38"/>
                      <a:pt x="200" y="38"/>
                      <a:pt x="199" y="39"/>
                    </a:cubicBezTo>
                    <a:cubicBezTo>
                      <a:pt x="199" y="39"/>
                      <a:pt x="198" y="39"/>
                      <a:pt x="198" y="39"/>
                    </a:cubicBezTo>
                    <a:cubicBezTo>
                      <a:pt x="197" y="39"/>
                      <a:pt x="197" y="39"/>
                      <a:pt x="196" y="39"/>
                    </a:cubicBezTo>
                    <a:cubicBezTo>
                      <a:pt x="195" y="40"/>
                      <a:pt x="195" y="40"/>
                      <a:pt x="194" y="40"/>
                    </a:cubicBezTo>
                    <a:cubicBezTo>
                      <a:pt x="194" y="40"/>
                      <a:pt x="193" y="40"/>
                      <a:pt x="193" y="40"/>
                    </a:cubicBezTo>
                    <a:cubicBezTo>
                      <a:pt x="192" y="40"/>
                      <a:pt x="192" y="40"/>
                      <a:pt x="191" y="40"/>
                    </a:cubicBezTo>
                    <a:cubicBezTo>
                      <a:pt x="190" y="40"/>
                      <a:pt x="189" y="41"/>
                      <a:pt x="188" y="41"/>
                    </a:cubicBezTo>
                    <a:cubicBezTo>
                      <a:pt x="188" y="41"/>
                      <a:pt x="187" y="41"/>
                      <a:pt x="187" y="41"/>
                    </a:cubicBezTo>
                    <a:cubicBezTo>
                      <a:pt x="186" y="41"/>
                      <a:pt x="185" y="41"/>
                      <a:pt x="183" y="41"/>
                    </a:cubicBezTo>
                    <a:cubicBezTo>
                      <a:pt x="183" y="41"/>
                      <a:pt x="183" y="41"/>
                      <a:pt x="183" y="42"/>
                    </a:cubicBezTo>
                    <a:cubicBezTo>
                      <a:pt x="181" y="42"/>
                      <a:pt x="180" y="42"/>
                      <a:pt x="179" y="42"/>
                    </a:cubicBezTo>
                    <a:cubicBezTo>
                      <a:pt x="179" y="42"/>
                      <a:pt x="178" y="42"/>
                      <a:pt x="178" y="42"/>
                    </a:cubicBezTo>
                    <a:cubicBezTo>
                      <a:pt x="177" y="42"/>
                      <a:pt x="176" y="42"/>
                      <a:pt x="175" y="42"/>
                    </a:cubicBezTo>
                    <a:cubicBezTo>
                      <a:pt x="174" y="42"/>
                      <a:pt x="174" y="42"/>
                      <a:pt x="173" y="42"/>
                    </a:cubicBezTo>
                    <a:cubicBezTo>
                      <a:pt x="173" y="42"/>
                      <a:pt x="172" y="42"/>
                      <a:pt x="171" y="42"/>
                    </a:cubicBezTo>
                    <a:cubicBezTo>
                      <a:pt x="171" y="42"/>
                      <a:pt x="170" y="42"/>
                      <a:pt x="170" y="42"/>
                    </a:cubicBezTo>
                    <a:cubicBezTo>
                      <a:pt x="169" y="42"/>
                      <a:pt x="168" y="42"/>
                      <a:pt x="168" y="42"/>
                    </a:cubicBezTo>
                    <a:cubicBezTo>
                      <a:pt x="167" y="42"/>
                      <a:pt x="166" y="42"/>
                      <a:pt x="166" y="42"/>
                    </a:cubicBezTo>
                    <a:cubicBezTo>
                      <a:pt x="165" y="42"/>
                      <a:pt x="165" y="42"/>
                      <a:pt x="164" y="42"/>
                    </a:cubicBezTo>
                    <a:cubicBezTo>
                      <a:pt x="163" y="42"/>
                      <a:pt x="163" y="42"/>
                      <a:pt x="162" y="42"/>
                    </a:cubicBezTo>
                    <a:cubicBezTo>
                      <a:pt x="162" y="42"/>
                      <a:pt x="161" y="42"/>
                      <a:pt x="160" y="42"/>
                    </a:cubicBezTo>
                    <a:cubicBezTo>
                      <a:pt x="160" y="42"/>
                      <a:pt x="159" y="42"/>
                      <a:pt x="159" y="42"/>
                    </a:cubicBezTo>
                    <a:cubicBezTo>
                      <a:pt x="158" y="41"/>
                      <a:pt x="157" y="41"/>
                      <a:pt x="157" y="41"/>
                    </a:cubicBezTo>
                    <a:cubicBezTo>
                      <a:pt x="156" y="41"/>
                      <a:pt x="156" y="41"/>
                      <a:pt x="155" y="41"/>
                    </a:cubicBezTo>
                    <a:cubicBezTo>
                      <a:pt x="154" y="41"/>
                      <a:pt x="154" y="41"/>
                      <a:pt x="153" y="41"/>
                    </a:cubicBezTo>
                    <a:cubicBezTo>
                      <a:pt x="153" y="41"/>
                      <a:pt x="152" y="41"/>
                      <a:pt x="152" y="41"/>
                    </a:cubicBezTo>
                    <a:cubicBezTo>
                      <a:pt x="151" y="41"/>
                      <a:pt x="150" y="40"/>
                      <a:pt x="150" y="40"/>
                    </a:cubicBezTo>
                    <a:cubicBezTo>
                      <a:pt x="149" y="40"/>
                      <a:pt x="149" y="40"/>
                      <a:pt x="148" y="40"/>
                    </a:cubicBezTo>
                    <a:cubicBezTo>
                      <a:pt x="147" y="40"/>
                      <a:pt x="147" y="40"/>
                      <a:pt x="146" y="40"/>
                    </a:cubicBezTo>
                    <a:cubicBezTo>
                      <a:pt x="146" y="40"/>
                      <a:pt x="145" y="40"/>
                      <a:pt x="145" y="39"/>
                    </a:cubicBezTo>
                    <a:cubicBezTo>
                      <a:pt x="144" y="39"/>
                      <a:pt x="143" y="39"/>
                      <a:pt x="142" y="39"/>
                    </a:cubicBezTo>
                    <a:cubicBezTo>
                      <a:pt x="142" y="39"/>
                      <a:pt x="141" y="39"/>
                      <a:pt x="141" y="39"/>
                    </a:cubicBezTo>
                    <a:cubicBezTo>
                      <a:pt x="140" y="38"/>
                      <a:pt x="139" y="38"/>
                      <a:pt x="139" y="38"/>
                    </a:cubicBezTo>
                    <a:cubicBezTo>
                      <a:pt x="138" y="38"/>
                      <a:pt x="138" y="38"/>
                      <a:pt x="137" y="38"/>
                    </a:cubicBezTo>
                    <a:cubicBezTo>
                      <a:pt x="136" y="37"/>
                      <a:pt x="135" y="37"/>
                      <a:pt x="133" y="36"/>
                    </a:cubicBezTo>
                    <a:cubicBezTo>
                      <a:pt x="133" y="36"/>
                      <a:pt x="133" y="36"/>
                      <a:pt x="133" y="36"/>
                    </a:cubicBezTo>
                    <a:cubicBezTo>
                      <a:pt x="132" y="36"/>
                      <a:pt x="131" y="35"/>
                      <a:pt x="129" y="35"/>
                    </a:cubicBezTo>
                    <a:cubicBezTo>
                      <a:pt x="129" y="35"/>
                      <a:pt x="128" y="35"/>
                      <a:pt x="128" y="34"/>
                    </a:cubicBezTo>
                    <a:cubicBezTo>
                      <a:pt x="127" y="34"/>
                      <a:pt x="127" y="34"/>
                      <a:pt x="127" y="34"/>
                    </a:cubicBezTo>
                    <a:cubicBezTo>
                      <a:pt x="126" y="34"/>
                      <a:pt x="125" y="33"/>
                      <a:pt x="125" y="33"/>
                    </a:cubicBezTo>
                    <a:cubicBezTo>
                      <a:pt x="125" y="33"/>
                      <a:pt x="124" y="33"/>
                      <a:pt x="124" y="33"/>
                    </a:cubicBezTo>
                    <a:cubicBezTo>
                      <a:pt x="123" y="32"/>
                      <a:pt x="123" y="32"/>
                      <a:pt x="122" y="32"/>
                    </a:cubicBezTo>
                    <a:cubicBezTo>
                      <a:pt x="122" y="31"/>
                      <a:pt x="121" y="31"/>
                      <a:pt x="121" y="31"/>
                    </a:cubicBezTo>
                    <a:cubicBezTo>
                      <a:pt x="120" y="31"/>
                      <a:pt x="119" y="30"/>
                      <a:pt x="118" y="30"/>
                    </a:cubicBezTo>
                    <a:cubicBezTo>
                      <a:pt x="111" y="25"/>
                      <a:pt x="105" y="20"/>
                      <a:pt x="102" y="15"/>
                    </a:cubicBezTo>
                    <a:cubicBezTo>
                      <a:pt x="101" y="14"/>
                      <a:pt x="100" y="13"/>
                      <a:pt x="98" y="12"/>
                    </a:cubicBezTo>
                    <a:cubicBezTo>
                      <a:pt x="98" y="11"/>
                      <a:pt x="97" y="11"/>
                      <a:pt x="97" y="11"/>
                    </a:cubicBezTo>
                    <a:cubicBezTo>
                      <a:pt x="97" y="11"/>
                      <a:pt x="97" y="11"/>
                      <a:pt x="97" y="11"/>
                    </a:cubicBezTo>
                    <a:cubicBezTo>
                      <a:pt x="96" y="11"/>
                      <a:pt x="96" y="11"/>
                      <a:pt x="96" y="11"/>
                    </a:cubicBezTo>
                    <a:cubicBezTo>
                      <a:pt x="96" y="11"/>
                      <a:pt x="96" y="11"/>
                      <a:pt x="96" y="11"/>
                    </a:cubicBezTo>
                    <a:cubicBezTo>
                      <a:pt x="95" y="10"/>
                      <a:pt x="95" y="10"/>
                      <a:pt x="94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3" y="10"/>
                      <a:pt x="92" y="10"/>
                      <a:pt x="92" y="10"/>
                    </a:cubicBezTo>
                    <a:cubicBezTo>
                      <a:pt x="92" y="10"/>
                      <a:pt x="92" y="10"/>
                      <a:pt x="92" y="10"/>
                    </a:cubicBezTo>
                    <a:cubicBezTo>
                      <a:pt x="92" y="9"/>
                      <a:pt x="91" y="9"/>
                      <a:pt x="91" y="9"/>
                    </a:cubicBezTo>
                    <a:cubicBezTo>
                      <a:pt x="91" y="9"/>
                      <a:pt x="91" y="9"/>
                      <a:pt x="91" y="9"/>
                    </a:cubicBezTo>
                    <a:cubicBezTo>
                      <a:pt x="91" y="9"/>
                      <a:pt x="91" y="9"/>
                      <a:pt x="91" y="9"/>
                    </a:cubicBezTo>
                    <a:cubicBezTo>
                      <a:pt x="90" y="9"/>
                      <a:pt x="90" y="9"/>
                      <a:pt x="90" y="9"/>
                    </a:cubicBezTo>
                    <a:cubicBezTo>
                      <a:pt x="90" y="9"/>
                      <a:pt x="89" y="9"/>
                      <a:pt x="89" y="9"/>
                    </a:cubicBezTo>
                    <a:cubicBezTo>
                      <a:pt x="89" y="9"/>
                      <a:pt x="89" y="9"/>
                      <a:pt x="89" y="9"/>
                    </a:cubicBezTo>
                    <a:cubicBezTo>
                      <a:pt x="89" y="9"/>
                      <a:pt x="88" y="9"/>
                      <a:pt x="88" y="9"/>
                    </a:cubicBezTo>
                    <a:cubicBezTo>
                      <a:pt x="88" y="9"/>
                      <a:pt x="88" y="9"/>
                      <a:pt x="88" y="9"/>
                    </a:cubicBezTo>
                    <a:cubicBezTo>
                      <a:pt x="88" y="9"/>
                      <a:pt x="88" y="9"/>
                      <a:pt x="88" y="9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6" y="9"/>
                      <a:pt x="86" y="9"/>
                      <a:pt x="86" y="9"/>
                    </a:cubicBezTo>
                    <a:cubicBezTo>
                      <a:pt x="86" y="9"/>
                      <a:pt x="86" y="9"/>
                      <a:pt x="86" y="9"/>
                    </a:cubicBezTo>
                    <a:cubicBezTo>
                      <a:pt x="86" y="9"/>
                      <a:pt x="85" y="9"/>
                      <a:pt x="85" y="9"/>
                    </a:cubicBezTo>
                    <a:cubicBezTo>
                      <a:pt x="85" y="9"/>
                      <a:pt x="85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3" y="9"/>
                      <a:pt x="83" y="9"/>
                    </a:cubicBezTo>
                    <a:cubicBezTo>
                      <a:pt x="83" y="9"/>
                      <a:pt x="83" y="9"/>
                      <a:pt x="82" y="9"/>
                    </a:cubicBezTo>
                    <a:cubicBezTo>
                      <a:pt x="82" y="9"/>
                      <a:pt x="82" y="10"/>
                      <a:pt x="82" y="10"/>
                    </a:cubicBezTo>
                    <a:cubicBezTo>
                      <a:pt x="82" y="10"/>
                      <a:pt x="81" y="10"/>
                      <a:pt x="81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10"/>
                      <a:pt x="78" y="11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77" y="11"/>
                      <a:pt x="77" y="11"/>
                      <a:pt x="76" y="12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6" y="58"/>
                      <a:pt x="77" y="58"/>
                      <a:pt x="77" y="58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78" y="57"/>
                      <a:pt x="79" y="57"/>
                      <a:pt x="79" y="57"/>
                    </a:cubicBezTo>
                    <a:cubicBezTo>
                      <a:pt x="79" y="57"/>
                      <a:pt x="79" y="57"/>
                      <a:pt x="80" y="57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81" y="57"/>
                      <a:pt x="81" y="57"/>
                      <a:pt x="81" y="57"/>
                    </a:cubicBezTo>
                    <a:cubicBezTo>
                      <a:pt x="81" y="57"/>
                      <a:pt x="82" y="56"/>
                      <a:pt x="82" y="56"/>
                    </a:cubicBezTo>
                    <a:cubicBezTo>
                      <a:pt x="82" y="56"/>
                      <a:pt x="82" y="56"/>
                      <a:pt x="82" y="56"/>
                    </a:cubicBezTo>
                    <a:cubicBezTo>
                      <a:pt x="83" y="56"/>
                      <a:pt x="84" y="56"/>
                      <a:pt x="84" y="56"/>
                    </a:cubicBezTo>
                    <a:cubicBezTo>
                      <a:pt x="84" y="56"/>
                      <a:pt x="84" y="56"/>
                      <a:pt x="85" y="56"/>
                    </a:cubicBezTo>
                    <a:cubicBezTo>
                      <a:pt x="85" y="56"/>
                      <a:pt x="85" y="56"/>
                      <a:pt x="86" y="56"/>
                    </a:cubicBezTo>
                    <a:cubicBezTo>
                      <a:pt x="86" y="56"/>
                      <a:pt x="86" y="56"/>
                      <a:pt x="87" y="56"/>
                    </a:cubicBezTo>
                    <a:cubicBezTo>
                      <a:pt x="87" y="56"/>
                      <a:pt x="87" y="56"/>
                      <a:pt x="87" y="56"/>
                    </a:cubicBezTo>
                    <a:cubicBezTo>
                      <a:pt x="88" y="56"/>
                      <a:pt x="88" y="56"/>
                      <a:pt x="88" y="56"/>
                    </a:cubicBezTo>
                    <a:cubicBezTo>
                      <a:pt x="88" y="56"/>
                      <a:pt x="89" y="56"/>
                      <a:pt x="89" y="56"/>
                    </a:cubicBezTo>
                    <a:cubicBezTo>
                      <a:pt x="89" y="56"/>
                      <a:pt x="89" y="56"/>
                      <a:pt x="90" y="56"/>
                    </a:cubicBezTo>
                    <a:cubicBezTo>
                      <a:pt x="90" y="56"/>
                      <a:pt x="90" y="56"/>
                      <a:pt x="90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2" y="56"/>
                      <a:pt x="92" y="56"/>
                    </a:cubicBezTo>
                    <a:cubicBezTo>
                      <a:pt x="92" y="56"/>
                      <a:pt x="92" y="56"/>
                      <a:pt x="93" y="56"/>
                    </a:cubicBezTo>
                    <a:cubicBezTo>
                      <a:pt x="93" y="57"/>
                      <a:pt x="93" y="57"/>
                      <a:pt x="94" y="57"/>
                    </a:cubicBezTo>
                    <a:cubicBezTo>
                      <a:pt x="94" y="57"/>
                      <a:pt x="94" y="57"/>
                      <a:pt x="94" y="57"/>
                    </a:cubicBezTo>
                    <a:cubicBezTo>
                      <a:pt x="95" y="57"/>
                      <a:pt x="95" y="57"/>
                      <a:pt x="96" y="57"/>
                    </a:cubicBezTo>
                    <a:cubicBezTo>
                      <a:pt x="96" y="58"/>
                      <a:pt x="96" y="58"/>
                      <a:pt x="96" y="58"/>
                    </a:cubicBezTo>
                    <a:cubicBezTo>
                      <a:pt x="97" y="58"/>
                      <a:pt x="97" y="58"/>
                      <a:pt x="97" y="58"/>
                    </a:cubicBezTo>
                    <a:cubicBezTo>
                      <a:pt x="97" y="58"/>
                      <a:pt x="98" y="58"/>
                      <a:pt x="98" y="59"/>
                    </a:cubicBezTo>
                    <a:cubicBezTo>
                      <a:pt x="99" y="59"/>
                      <a:pt x="101" y="60"/>
                      <a:pt x="101" y="62"/>
                    </a:cubicBezTo>
                    <a:cubicBezTo>
                      <a:pt x="105" y="67"/>
                      <a:pt x="111" y="72"/>
                      <a:pt x="118" y="76"/>
                    </a:cubicBezTo>
                    <a:cubicBezTo>
                      <a:pt x="119" y="77"/>
                      <a:pt x="120" y="77"/>
                      <a:pt x="121" y="78"/>
                    </a:cubicBezTo>
                    <a:cubicBezTo>
                      <a:pt x="121" y="78"/>
                      <a:pt x="121" y="78"/>
                      <a:pt x="122" y="78"/>
                    </a:cubicBezTo>
                    <a:cubicBezTo>
                      <a:pt x="122" y="79"/>
                      <a:pt x="123" y="79"/>
                      <a:pt x="124" y="79"/>
                    </a:cubicBezTo>
                    <a:cubicBezTo>
                      <a:pt x="124" y="80"/>
                      <a:pt x="124" y="80"/>
                      <a:pt x="125" y="80"/>
                    </a:cubicBezTo>
                    <a:cubicBezTo>
                      <a:pt x="125" y="80"/>
                      <a:pt x="126" y="80"/>
                      <a:pt x="127" y="81"/>
                    </a:cubicBezTo>
                    <a:cubicBezTo>
                      <a:pt x="127" y="81"/>
                      <a:pt x="127" y="81"/>
                      <a:pt x="128" y="81"/>
                    </a:cubicBezTo>
                    <a:cubicBezTo>
                      <a:pt x="128" y="81"/>
                      <a:pt x="128" y="81"/>
                      <a:pt x="129" y="82"/>
                    </a:cubicBezTo>
                    <a:cubicBezTo>
                      <a:pt x="129" y="82"/>
                      <a:pt x="129" y="82"/>
                      <a:pt x="129" y="82"/>
                    </a:cubicBezTo>
                    <a:cubicBezTo>
                      <a:pt x="131" y="82"/>
                      <a:pt x="132" y="83"/>
                      <a:pt x="133" y="83"/>
                    </a:cubicBezTo>
                    <a:cubicBezTo>
                      <a:pt x="133" y="83"/>
                      <a:pt x="133" y="83"/>
                      <a:pt x="133" y="83"/>
                    </a:cubicBezTo>
                    <a:cubicBezTo>
                      <a:pt x="135" y="84"/>
                      <a:pt x="136" y="84"/>
                      <a:pt x="137" y="84"/>
                    </a:cubicBezTo>
                    <a:cubicBezTo>
                      <a:pt x="137" y="84"/>
                      <a:pt x="138" y="85"/>
                      <a:pt x="138" y="85"/>
                    </a:cubicBezTo>
                    <a:cubicBezTo>
                      <a:pt x="138" y="85"/>
                      <a:pt x="138" y="85"/>
                      <a:pt x="139" y="85"/>
                    </a:cubicBezTo>
                    <a:cubicBezTo>
                      <a:pt x="139" y="85"/>
                      <a:pt x="140" y="85"/>
                      <a:pt x="141" y="85"/>
                    </a:cubicBezTo>
                    <a:cubicBezTo>
                      <a:pt x="141" y="86"/>
                      <a:pt x="142" y="86"/>
                      <a:pt x="142" y="86"/>
                    </a:cubicBezTo>
                    <a:cubicBezTo>
                      <a:pt x="143" y="86"/>
                      <a:pt x="144" y="86"/>
                      <a:pt x="144" y="86"/>
                    </a:cubicBezTo>
                    <a:cubicBezTo>
                      <a:pt x="145" y="86"/>
                      <a:pt x="145" y="86"/>
                      <a:pt x="145" y="86"/>
                    </a:cubicBezTo>
                    <a:cubicBezTo>
                      <a:pt x="146" y="86"/>
                      <a:pt x="146" y="87"/>
                      <a:pt x="146" y="87"/>
                    </a:cubicBezTo>
                    <a:cubicBezTo>
                      <a:pt x="147" y="87"/>
                      <a:pt x="147" y="87"/>
                      <a:pt x="148" y="87"/>
                    </a:cubicBezTo>
                    <a:cubicBezTo>
                      <a:pt x="148" y="87"/>
                      <a:pt x="149" y="87"/>
                      <a:pt x="149" y="87"/>
                    </a:cubicBezTo>
                    <a:cubicBezTo>
                      <a:pt x="150" y="87"/>
                      <a:pt x="151" y="87"/>
                      <a:pt x="151" y="88"/>
                    </a:cubicBezTo>
                    <a:cubicBezTo>
                      <a:pt x="152" y="88"/>
                      <a:pt x="152" y="88"/>
                      <a:pt x="153" y="88"/>
                    </a:cubicBezTo>
                    <a:cubicBezTo>
                      <a:pt x="153" y="88"/>
                      <a:pt x="153" y="88"/>
                      <a:pt x="153" y="88"/>
                    </a:cubicBezTo>
                    <a:cubicBezTo>
                      <a:pt x="154" y="88"/>
                      <a:pt x="154" y="88"/>
                      <a:pt x="155" y="88"/>
                    </a:cubicBezTo>
                    <a:cubicBezTo>
                      <a:pt x="155" y="88"/>
                      <a:pt x="156" y="88"/>
                      <a:pt x="157" y="88"/>
                    </a:cubicBezTo>
                    <a:cubicBezTo>
                      <a:pt x="157" y="88"/>
                      <a:pt x="158" y="88"/>
                      <a:pt x="158" y="88"/>
                    </a:cubicBezTo>
                    <a:cubicBezTo>
                      <a:pt x="159" y="88"/>
                      <a:pt x="159" y="88"/>
                      <a:pt x="160" y="89"/>
                    </a:cubicBezTo>
                    <a:cubicBezTo>
                      <a:pt x="160" y="89"/>
                      <a:pt x="160" y="89"/>
                      <a:pt x="160" y="89"/>
                    </a:cubicBezTo>
                    <a:cubicBezTo>
                      <a:pt x="161" y="89"/>
                      <a:pt x="161" y="89"/>
                      <a:pt x="162" y="89"/>
                    </a:cubicBezTo>
                    <a:cubicBezTo>
                      <a:pt x="163" y="89"/>
                      <a:pt x="163" y="89"/>
                      <a:pt x="164" y="89"/>
                    </a:cubicBezTo>
                    <a:cubicBezTo>
                      <a:pt x="164" y="89"/>
                      <a:pt x="165" y="89"/>
                      <a:pt x="166" y="89"/>
                    </a:cubicBezTo>
                    <a:cubicBezTo>
                      <a:pt x="166" y="89"/>
                      <a:pt x="167" y="89"/>
                      <a:pt x="167" y="89"/>
                    </a:cubicBezTo>
                    <a:cubicBezTo>
                      <a:pt x="167" y="89"/>
                      <a:pt x="167" y="89"/>
                      <a:pt x="167" y="89"/>
                    </a:cubicBezTo>
                    <a:cubicBezTo>
                      <a:pt x="168" y="89"/>
                      <a:pt x="169" y="89"/>
                      <a:pt x="169" y="89"/>
                    </a:cubicBezTo>
                    <a:cubicBezTo>
                      <a:pt x="170" y="89"/>
                      <a:pt x="171" y="89"/>
                      <a:pt x="171" y="89"/>
                    </a:cubicBezTo>
                    <a:cubicBezTo>
                      <a:pt x="172" y="89"/>
                      <a:pt x="172" y="89"/>
                      <a:pt x="173" y="89"/>
                    </a:cubicBezTo>
                    <a:cubicBezTo>
                      <a:pt x="174" y="89"/>
                      <a:pt x="174" y="89"/>
                      <a:pt x="175" y="89"/>
                    </a:cubicBezTo>
                    <a:cubicBezTo>
                      <a:pt x="175" y="89"/>
                      <a:pt x="175" y="89"/>
                      <a:pt x="175" y="89"/>
                    </a:cubicBezTo>
                    <a:cubicBezTo>
                      <a:pt x="176" y="89"/>
                      <a:pt x="177" y="89"/>
                      <a:pt x="178" y="89"/>
                    </a:cubicBezTo>
                    <a:cubicBezTo>
                      <a:pt x="178" y="89"/>
                      <a:pt x="178" y="89"/>
                      <a:pt x="179" y="89"/>
                    </a:cubicBezTo>
                    <a:cubicBezTo>
                      <a:pt x="180" y="89"/>
                      <a:pt x="181" y="88"/>
                      <a:pt x="182" y="88"/>
                    </a:cubicBezTo>
                    <a:cubicBezTo>
                      <a:pt x="182" y="88"/>
                      <a:pt x="183" y="88"/>
                      <a:pt x="183" y="88"/>
                    </a:cubicBezTo>
                    <a:cubicBezTo>
                      <a:pt x="183" y="88"/>
                      <a:pt x="183" y="88"/>
                      <a:pt x="183" y="88"/>
                    </a:cubicBezTo>
                    <a:cubicBezTo>
                      <a:pt x="184" y="88"/>
                      <a:pt x="186" y="88"/>
                      <a:pt x="187" y="88"/>
                    </a:cubicBezTo>
                    <a:cubicBezTo>
                      <a:pt x="187" y="88"/>
                      <a:pt x="188" y="88"/>
                      <a:pt x="188" y="88"/>
                    </a:cubicBezTo>
                    <a:cubicBezTo>
                      <a:pt x="189" y="87"/>
                      <a:pt x="190" y="87"/>
                      <a:pt x="191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3" y="87"/>
                      <a:pt x="194" y="87"/>
                      <a:pt x="194" y="87"/>
                    </a:cubicBezTo>
                    <a:cubicBezTo>
                      <a:pt x="195" y="86"/>
                      <a:pt x="195" y="86"/>
                      <a:pt x="196" y="86"/>
                    </a:cubicBezTo>
                    <a:cubicBezTo>
                      <a:pt x="197" y="86"/>
                      <a:pt x="197" y="86"/>
                      <a:pt x="198" y="86"/>
                    </a:cubicBezTo>
                    <a:cubicBezTo>
                      <a:pt x="198" y="86"/>
                      <a:pt x="199" y="86"/>
                      <a:pt x="199" y="85"/>
                    </a:cubicBezTo>
                    <a:cubicBezTo>
                      <a:pt x="200" y="85"/>
                      <a:pt x="201" y="85"/>
                      <a:pt x="201" y="85"/>
                    </a:cubicBezTo>
                    <a:cubicBezTo>
                      <a:pt x="202" y="85"/>
                      <a:pt x="202" y="85"/>
                      <a:pt x="203" y="85"/>
                    </a:cubicBezTo>
                    <a:cubicBezTo>
                      <a:pt x="203" y="84"/>
                      <a:pt x="204" y="84"/>
                      <a:pt x="204" y="84"/>
                    </a:cubicBezTo>
                    <a:cubicBezTo>
                      <a:pt x="205" y="84"/>
                      <a:pt x="205" y="84"/>
                      <a:pt x="206" y="84"/>
                    </a:cubicBezTo>
                    <a:cubicBezTo>
                      <a:pt x="206" y="84"/>
                      <a:pt x="206" y="84"/>
                      <a:pt x="206" y="84"/>
                    </a:cubicBezTo>
                    <a:cubicBezTo>
                      <a:pt x="207" y="83"/>
                      <a:pt x="209" y="83"/>
                      <a:pt x="210" y="82"/>
                    </a:cubicBezTo>
                    <a:cubicBezTo>
                      <a:pt x="210" y="82"/>
                      <a:pt x="211" y="82"/>
                      <a:pt x="211" y="82"/>
                    </a:cubicBezTo>
                    <a:cubicBezTo>
                      <a:pt x="212" y="81"/>
                      <a:pt x="213" y="81"/>
                      <a:pt x="214" y="80"/>
                    </a:cubicBezTo>
                    <a:cubicBezTo>
                      <a:pt x="214" y="80"/>
                      <a:pt x="215" y="80"/>
                      <a:pt x="215" y="80"/>
                    </a:cubicBezTo>
                    <a:cubicBezTo>
                      <a:pt x="216" y="80"/>
                      <a:pt x="217" y="79"/>
                      <a:pt x="219" y="78"/>
                    </a:cubicBezTo>
                    <a:cubicBezTo>
                      <a:pt x="219" y="78"/>
                      <a:pt x="219" y="78"/>
                      <a:pt x="219" y="78"/>
                    </a:cubicBezTo>
                    <a:cubicBezTo>
                      <a:pt x="220" y="77"/>
                      <a:pt x="221" y="77"/>
                      <a:pt x="222" y="76"/>
                    </a:cubicBezTo>
                    <a:cubicBezTo>
                      <a:pt x="222" y="76"/>
                      <a:pt x="223" y="76"/>
                      <a:pt x="223" y="76"/>
                    </a:cubicBezTo>
                    <a:cubicBezTo>
                      <a:pt x="223" y="76"/>
                      <a:pt x="224" y="76"/>
                      <a:pt x="224" y="75"/>
                    </a:cubicBezTo>
                    <a:cubicBezTo>
                      <a:pt x="225" y="75"/>
                      <a:pt x="225" y="74"/>
                      <a:pt x="226" y="74"/>
                    </a:cubicBezTo>
                    <a:cubicBezTo>
                      <a:pt x="226" y="74"/>
                      <a:pt x="227" y="73"/>
                      <a:pt x="227" y="73"/>
                    </a:cubicBezTo>
                    <a:cubicBezTo>
                      <a:pt x="227" y="73"/>
                      <a:pt x="228" y="73"/>
                      <a:pt x="228" y="72"/>
                    </a:cubicBezTo>
                    <a:cubicBezTo>
                      <a:pt x="229" y="72"/>
                      <a:pt x="229" y="72"/>
                      <a:pt x="229" y="72"/>
                    </a:cubicBezTo>
                    <a:cubicBezTo>
                      <a:pt x="230" y="71"/>
                      <a:pt x="230" y="71"/>
                      <a:pt x="230" y="71"/>
                    </a:cubicBezTo>
                    <a:cubicBezTo>
                      <a:pt x="231" y="70"/>
                      <a:pt x="231" y="70"/>
                      <a:pt x="231" y="70"/>
                    </a:cubicBezTo>
                    <a:cubicBezTo>
                      <a:pt x="231" y="70"/>
                      <a:pt x="232" y="69"/>
                      <a:pt x="232" y="69"/>
                    </a:cubicBezTo>
                    <a:cubicBezTo>
                      <a:pt x="232" y="69"/>
                      <a:pt x="232" y="69"/>
                      <a:pt x="232" y="69"/>
                    </a:cubicBezTo>
                    <a:cubicBezTo>
                      <a:pt x="233" y="68"/>
                      <a:pt x="234" y="68"/>
                      <a:pt x="234" y="67"/>
                    </a:cubicBezTo>
                    <a:cubicBezTo>
                      <a:pt x="234" y="67"/>
                      <a:pt x="235" y="67"/>
                      <a:pt x="235" y="66"/>
                    </a:cubicBezTo>
                    <a:cubicBezTo>
                      <a:pt x="235" y="66"/>
                      <a:pt x="236" y="65"/>
                      <a:pt x="236" y="65"/>
                    </a:cubicBezTo>
                    <a:cubicBezTo>
                      <a:pt x="236" y="65"/>
                      <a:pt x="236" y="64"/>
                      <a:pt x="237" y="64"/>
                    </a:cubicBezTo>
                    <a:cubicBezTo>
                      <a:pt x="237" y="64"/>
                      <a:pt x="237" y="64"/>
                      <a:pt x="237" y="64"/>
                    </a:cubicBezTo>
                    <a:cubicBezTo>
                      <a:pt x="237" y="64"/>
                      <a:pt x="237" y="63"/>
                      <a:pt x="238" y="63"/>
                    </a:cubicBezTo>
                    <a:cubicBezTo>
                      <a:pt x="238" y="62"/>
                      <a:pt x="238" y="62"/>
                      <a:pt x="238" y="62"/>
                    </a:cubicBezTo>
                    <a:cubicBezTo>
                      <a:pt x="239" y="61"/>
                      <a:pt x="239" y="61"/>
                      <a:pt x="240" y="60"/>
                    </a:cubicBezTo>
                    <a:cubicBezTo>
                      <a:pt x="240" y="60"/>
                      <a:pt x="240" y="60"/>
                      <a:pt x="240" y="60"/>
                    </a:cubicBezTo>
                    <a:cubicBezTo>
                      <a:pt x="240" y="60"/>
                      <a:pt x="240" y="60"/>
                      <a:pt x="240" y="60"/>
                    </a:cubicBezTo>
                    <a:cubicBezTo>
                      <a:pt x="240" y="59"/>
                      <a:pt x="240" y="58"/>
                      <a:pt x="241" y="58"/>
                    </a:cubicBezTo>
                    <a:cubicBezTo>
                      <a:pt x="241" y="58"/>
                      <a:pt x="241" y="57"/>
                      <a:pt x="241" y="57"/>
                    </a:cubicBezTo>
                    <a:cubicBezTo>
                      <a:pt x="241" y="57"/>
                      <a:pt x="241" y="56"/>
                      <a:pt x="241" y="56"/>
                    </a:cubicBezTo>
                    <a:cubicBezTo>
                      <a:pt x="241" y="56"/>
                      <a:pt x="241" y="56"/>
                      <a:pt x="241" y="56"/>
                    </a:cubicBezTo>
                    <a:cubicBezTo>
                      <a:pt x="242" y="56"/>
                      <a:pt x="242" y="55"/>
                      <a:pt x="242" y="55"/>
                    </a:cubicBezTo>
                    <a:cubicBezTo>
                      <a:pt x="242" y="55"/>
                      <a:pt x="242" y="54"/>
                      <a:pt x="242" y="54"/>
                    </a:cubicBezTo>
                    <a:cubicBezTo>
                      <a:pt x="242" y="54"/>
                      <a:pt x="242" y="53"/>
                      <a:pt x="242" y="53"/>
                    </a:cubicBezTo>
                    <a:cubicBezTo>
                      <a:pt x="242" y="53"/>
                      <a:pt x="243" y="52"/>
                      <a:pt x="243" y="52"/>
                    </a:cubicBezTo>
                    <a:cubicBezTo>
                      <a:pt x="243" y="52"/>
                      <a:pt x="243" y="52"/>
                      <a:pt x="243" y="52"/>
                    </a:cubicBezTo>
                    <a:cubicBezTo>
                      <a:pt x="243" y="51"/>
                      <a:pt x="243" y="51"/>
                      <a:pt x="243" y="51"/>
                    </a:cubicBezTo>
                    <a:cubicBezTo>
                      <a:pt x="243" y="51"/>
                      <a:pt x="243" y="50"/>
                      <a:pt x="243" y="50"/>
                    </a:cubicBezTo>
                    <a:cubicBezTo>
                      <a:pt x="243" y="50"/>
                      <a:pt x="243" y="49"/>
                      <a:pt x="243" y="49"/>
                    </a:cubicBezTo>
                    <a:cubicBezTo>
                      <a:pt x="243" y="49"/>
                      <a:pt x="243" y="48"/>
                      <a:pt x="243" y="48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1"/>
                      <a:pt x="243" y="1"/>
                    </a:cubicBezTo>
                    <a:close/>
                  </a:path>
                </a:pathLst>
              </a:custGeom>
              <a:solidFill>
                <a:srgbClr val="BC60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3">
                <a:extLst>
                  <a:ext uri="{FF2B5EF4-FFF2-40B4-BE49-F238E27FC236}">
                    <a16:creationId xmlns:a16="http://schemas.microsoft.com/office/drawing/2014/main" id="{76C56836-065C-48CE-9F24-AB88E40EC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0490" y="4109787"/>
                <a:ext cx="1486942" cy="1119383"/>
              </a:xfrm>
              <a:custGeom>
                <a:avLst/>
                <a:gdLst>
                  <a:gd name="T0" fmla="*/ 1068 w 1068"/>
                  <a:gd name="T1" fmla="*/ 617 h 804"/>
                  <a:gd name="T2" fmla="*/ 1068 w 1068"/>
                  <a:gd name="T3" fmla="*/ 804 h 804"/>
                  <a:gd name="T4" fmla="*/ 0 w 1068"/>
                  <a:gd name="T5" fmla="*/ 187 h 804"/>
                  <a:gd name="T6" fmla="*/ 0 w 1068"/>
                  <a:gd name="T7" fmla="*/ 0 h 804"/>
                  <a:gd name="T8" fmla="*/ 1068 w 1068"/>
                  <a:gd name="T9" fmla="*/ 617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8" h="804">
                    <a:moveTo>
                      <a:pt x="1068" y="617"/>
                    </a:moveTo>
                    <a:lnTo>
                      <a:pt x="1068" y="804"/>
                    </a:lnTo>
                    <a:lnTo>
                      <a:pt x="0" y="187"/>
                    </a:lnTo>
                    <a:lnTo>
                      <a:pt x="0" y="0"/>
                    </a:lnTo>
                    <a:lnTo>
                      <a:pt x="1068" y="617"/>
                    </a:lnTo>
                    <a:close/>
                  </a:path>
                </a:pathLst>
              </a:custGeom>
              <a:solidFill>
                <a:srgbClr val="700E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4">
                <a:extLst>
                  <a:ext uri="{FF2B5EF4-FFF2-40B4-BE49-F238E27FC236}">
                    <a16:creationId xmlns:a16="http://schemas.microsoft.com/office/drawing/2014/main" id="{CC3F2265-3406-48E3-988D-C252081E9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7690" y="4420263"/>
                <a:ext cx="316045" cy="526277"/>
              </a:xfrm>
              <a:custGeom>
                <a:avLst/>
                <a:gdLst>
                  <a:gd name="T0" fmla="*/ 57 w 57"/>
                  <a:gd name="T1" fmla="*/ 4 h 95"/>
                  <a:gd name="T2" fmla="*/ 56 w 57"/>
                  <a:gd name="T3" fmla="*/ 7 h 95"/>
                  <a:gd name="T4" fmla="*/ 55 w 57"/>
                  <a:gd name="T5" fmla="*/ 10 h 95"/>
                  <a:gd name="T6" fmla="*/ 54 w 57"/>
                  <a:gd name="T7" fmla="*/ 13 h 95"/>
                  <a:gd name="T8" fmla="*/ 52 w 57"/>
                  <a:gd name="T9" fmla="*/ 16 h 95"/>
                  <a:gd name="T10" fmla="*/ 49 w 57"/>
                  <a:gd name="T11" fmla="*/ 20 h 95"/>
                  <a:gd name="T12" fmla="*/ 46 w 57"/>
                  <a:gd name="T13" fmla="*/ 23 h 95"/>
                  <a:gd name="T14" fmla="*/ 42 w 57"/>
                  <a:gd name="T15" fmla="*/ 26 h 95"/>
                  <a:gd name="T16" fmla="*/ 39 w 57"/>
                  <a:gd name="T17" fmla="*/ 28 h 95"/>
                  <a:gd name="T18" fmla="*/ 32 w 57"/>
                  <a:gd name="T19" fmla="*/ 32 h 95"/>
                  <a:gd name="T20" fmla="*/ 28 w 57"/>
                  <a:gd name="T21" fmla="*/ 34 h 95"/>
                  <a:gd name="T22" fmla="*/ 20 w 57"/>
                  <a:gd name="T23" fmla="*/ 37 h 95"/>
                  <a:gd name="T24" fmla="*/ 14 w 57"/>
                  <a:gd name="T25" fmla="*/ 39 h 95"/>
                  <a:gd name="T26" fmla="*/ 8 w 57"/>
                  <a:gd name="T27" fmla="*/ 41 h 95"/>
                  <a:gd name="T28" fmla="*/ 6 w 57"/>
                  <a:gd name="T29" fmla="*/ 41 h 95"/>
                  <a:gd name="T30" fmla="*/ 5 w 57"/>
                  <a:gd name="T31" fmla="*/ 42 h 95"/>
                  <a:gd name="T32" fmla="*/ 3 w 57"/>
                  <a:gd name="T33" fmla="*/ 43 h 95"/>
                  <a:gd name="T34" fmla="*/ 2 w 57"/>
                  <a:gd name="T35" fmla="*/ 45 h 95"/>
                  <a:gd name="T36" fmla="*/ 1 w 57"/>
                  <a:gd name="T37" fmla="*/ 45 h 95"/>
                  <a:gd name="T38" fmla="*/ 1 w 57"/>
                  <a:gd name="T39" fmla="*/ 46 h 95"/>
                  <a:gd name="T40" fmla="*/ 1 w 57"/>
                  <a:gd name="T41" fmla="*/ 47 h 95"/>
                  <a:gd name="T42" fmla="*/ 0 w 57"/>
                  <a:gd name="T43" fmla="*/ 48 h 95"/>
                  <a:gd name="T44" fmla="*/ 0 w 57"/>
                  <a:gd name="T45" fmla="*/ 95 h 95"/>
                  <a:gd name="T46" fmla="*/ 0 w 57"/>
                  <a:gd name="T47" fmla="*/ 94 h 95"/>
                  <a:gd name="T48" fmla="*/ 1 w 57"/>
                  <a:gd name="T49" fmla="*/ 92 h 95"/>
                  <a:gd name="T50" fmla="*/ 2 w 57"/>
                  <a:gd name="T51" fmla="*/ 91 h 95"/>
                  <a:gd name="T52" fmla="*/ 4 w 57"/>
                  <a:gd name="T53" fmla="*/ 90 h 95"/>
                  <a:gd name="T54" fmla="*/ 5 w 57"/>
                  <a:gd name="T55" fmla="*/ 89 h 95"/>
                  <a:gd name="T56" fmla="*/ 8 w 57"/>
                  <a:gd name="T57" fmla="*/ 87 h 95"/>
                  <a:gd name="T58" fmla="*/ 14 w 57"/>
                  <a:gd name="T59" fmla="*/ 86 h 95"/>
                  <a:gd name="T60" fmla="*/ 19 w 57"/>
                  <a:gd name="T61" fmla="*/ 84 h 95"/>
                  <a:gd name="T62" fmla="*/ 24 w 57"/>
                  <a:gd name="T63" fmla="*/ 83 h 95"/>
                  <a:gd name="T64" fmla="*/ 31 w 57"/>
                  <a:gd name="T65" fmla="*/ 80 h 95"/>
                  <a:gd name="T66" fmla="*/ 37 w 57"/>
                  <a:gd name="T67" fmla="*/ 77 h 95"/>
                  <a:gd name="T68" fmla="*/ 40 w 57"/>
                  <a:gd name="T69" fmla="*/ 74 h 95"/>
                  <a:gd name="T70" fmla="*/ 43 w 57"/>
                  <a:gd name="T71" fmla="*/ 72 h 95"/>
                  <a:gd name="T72" fmla="*/ 46 w 57"/>
                  <a:gd name="T73" fmla="*/ 70 h 95"/>
                  <a:gd name="T74" fmla="*/ 49 w 57"/>
                  <a:gd name="T75" fmla="*/ 67 h 95"/>
                  <a:gd name="T76" fmla="*/ 51 w 57"/>
                  <a:gd name="T77" fmla="*/ 64 h 95"/>
                  <a:gd name="T78" fmla="*/ 53 w 57"/>
                  <a:gd name="T79" fmla="*/ 61 h 95"/>
                  <a:gd name="T80" fmla="*/ 54 w 57"/>
                  <a:gd name="T81" fmla="*/ 59 h 95"/>
                  <a:gd name="T82" fmla="*/ 55 w 57"/>
                  <a:gd name="T83" fmla="*/ 56 h 95"/>
                  <a:gd name="T84" fmla="*/ 56 w 57"/>
                  <a:gd name="T85" fmla="*/ 54 h 95"/>
                  <a:gd name="T86" fmla="*/ 57 w 57"/>
                  <a:gd name="T87" fmla="*/ 52 h 95"/>
                  <a:gd name="T88" fmla="*/ 57 w 57"/>
                  <a:gd name="T89" fmla="*/ 49 h 95"/>
                  <a:gd name="T90" fmla="*/ 57 w 57"/>
                  <a:gd name="T9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7" h="95">
                    <a:moveTo>
                      <a:pt x="57" y="2"/>
                    </a:moveTo>
                    <a:cubicBezTo>
                      <a:pt x="57" y="2"/>
                      <a:pt x="57" y="2"/>
                      <a:pt x="57" y="3"/>
                    </a:cubicBezTo>
                    <a:cubicBezTo>
                      <a:pt x="57" y="3"/>
                      <a:pt x="57" y="3"/>
                      <a:pt x="57" y="4"/>
                    </a:cubicBezTo>
                    <a:cubicBezTo>
                      <a:pt x="57" y="4"/>
                      <a:pt x="57" y="5"/>
                      <a:pt x="57" y="5"/>
                    </a:cubicBezTo>
                    <a:cubicBezTo>
                      <a:pt x="57" y="5"/>
                      <a:pt x="57" y="6"/>
                      <a:pt x="57" y="6"/>
                    </a:cubicBezTo>
                    <a:cubicBezTo>
                      <a:pt x="56" y="6"/>
                      <a:pt x="56" y="7"/>
                      <a:pt x="56" y="7"/>
                    </a:cubicBezTo>
                    <a:cubicBezTo>
                      <a:pt x="56" y="7"/>
                      <a:pt x="56" y="8"/>
                      <a:pt x="56" y="8"/>
                    </a:cubicBezTo>
                    <a:cubicBezTo>
                      <a:pt x="56" y="8"/>
                      <a:pt x="56" y="9"/>
                      <a:pt x="56" y="9"/>
                    </a:cubicBezTo>
                    <a:cubicBezTo>
                      <a:pt x="56" y="9"/>
                      <a:pt x="55" y="10"/>
                      <a:pt x="55" y="10"/>
                    </a:cubicBezTo>
                    <a:cubicBezTo>
                      <a:pt x="55" y="10"/>
                      <a:pt x="55" y="11"/>
                      <a:pt x="55" y="11"/>
                    </a:cubicBezTo>
                    <a:cubicBezTo>
                      <a:pt x="55" y="11"/>
                      <a:pt x="55" y="12"/>
                      <a:pt x="54" y="12"/>
                    </a:cubicBezTo>
                    <a:cubicBezTo>
                      <a:pt x="54" y="12"/>
                      <a:pt x="54" y="13"/>
                      <a:pt x="54" y="13"/>
                    </a:cubicBezTo>
                    <a:cubicBezTo>
                      <a:pt x="54" y="13"/>
                      <a:pt x="54" y="14"/>
                      <a:pt x="53" y="14"/>
                    </a:cubicBezTo>
                    <a:cubicBezTo>
                      <a:pt x="53" y="14"/>
                      <a:pt x="53" y="15"/>
                      <a:pt x="53" y="15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17"/>
                      <a:pt x="51" y="17"/>
                      <a:pt x="51" y="17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50" y="19"/>
                      <a:pt x="49" y="20"/>
                      <a:pt x="49" y="20"/>
                    </a:cubicBezTo>
                    <a:cubicBezTo>
                      <a:pt x="48" y="20"/>
                      <a:pt x="48" y="21"/>
                      <a:pt x="48" y="21"/>
                    </a:cubicBezTo>
                    <a:cubicBezTo>
                      <a:pt x="48" y="21"/>
                      <a:pt x="47" y="22"/>
                      <a:pt x="46" y="23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4" y="24"/>
                      <a:pt x="44" y="25"/>
                      <a:pt x="44" y="25"/>
                    </a:cubicBezTo>
                    <a:cubicBezTo>
                      <a:pt x="43" y="25"/>
                      <a:pt x="43" y="26"/>
                      <a:pt x="42" y="26"/>
                    </a:cubicBezTo>
                    <a:cubicBezTo>
                      <a:pt x="42" y="26"/>
                      <a:pt x="42" y="26"/>
                      <a:pt x="41" y="27"/>
                    </a:cubicBezTo>
                    <a:cubicBezTo>
                      <a:pt x="41" y="27"/>
                      <a:pt x="41" y="27"/>
                      <a:pt x="40" y="28"/>
                    </a:cubicBezTo>
                    <a:cubicBezTo>
                      <a:pt x="40" y="28"/>
                      <a:pt x="39" y="28"/>
                      <a:pt x="39" y="28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37" y="30"/>
                      <a:pt x="36" y="30"/>
                      <a:pt x="36" y="30"/>
                    </a:cubicBezTo>
                    <a:cubicBezTo>
                      <a:pt x="35" y="31"/>
                      <a:pt x="34" y="32"/>
                      <a:pt x="32" y="32"/>
                    </a:cubicBezTo>
                    <a:cubicBezTo>
                      <a:pt x="32" y="32"/>
                      <a:pt x="32" y="33"/>
                      <a:pt x="31" y="33"/>
                    </a:cubicBezTo>
                    <a:cubicBezTo>
                      <a:pt x="30" y="33"/>
                      <a:pt x="30" y="34"/>
                      <a:pt x="29" y="34"/>
                    </a:cubicBezTo>
                    <a:cubicBezTo>
                      <a:pt x="28" y="34"/>
                      <a:pt x="28" y="34"/>
                      <a:pt x="28" y="34"/>
                    </a:cubicBezTo>
                    <a:cubicBezTo>
                      <a:pt x="26" y="35"/>
                      <a:pt x="25" y="35"/>
                      <a:pt x="24" y="36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1" y="37"/>
                      <a:pt x="20" y="37"/>
                    </a:cubicBezTo>
                    <a:cubicBezTo>
                      <a:pt x="20" y="37"/>
                      <a:pt x="19" y="38"/>
                      <a:pt x="19" y="38"/>
                    </a:cubicBezTo>
                    <a:cubicBezTo>
                      <a:pt x="18" y="38"/>
                      <a:pt x="17" y="38"/>
                      <a:pt x="16" y="39"/>
                    </a:cubicBezTo>
                    <a:cubicBezTo>
                      <a:pt x="15" y="39"/>
                      <a:pt x="15" y="39"/>
                      <a:pt x="14" y="39"/>
                    </a:cubicBezTo>
                    <a:cubicBezTo>
                      <a:pt x="13" y="39"/>
                      <a:pt x="12" y="40"/>
                      <a:pt x="10" y="40"/>
                    </a:cubicBezTo>
                    <a:cubicBezTo>
                      <a:pt x="10" y="40"/>
                      <a:pt x="9" y="40"/>
                      <a:pt x="8" y="40"/>
                    </a:cubicBezTo>
                    <a:cubicBezTo>
                      <a:pt x="8" y="40"/>
                      <a:pt x="8" y="41"/>
                      <a:pt x="8" y="41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8" y="41"/>
                      <a:pt x="7" y="41"/>
                      <a:pt x="6" y="41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6" y="41"/>
                      <a:pt x="5" y="42"/>
                      <a:pt x="5" y="42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4" y="42"/>
                      <a:pt x="4" y="42"/>
                      <a:pt x="4" y="43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" y="44"/>
                      <a:pt x="2" y="44"/>
                      <a:pt x="2" y="45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1" y="45"/>
                      <a:pt x="1" y="45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95"/>
                      <a:pt x="0" y="94"/>
                      <a:pt x="0" y="94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94"/>
                      <a:pt x="1" y="94"/>
                      <a:pt x="1" y="93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1" y="93"/>
                      <a:pt x="1" y="93"/>
                      <a:pt x="1" y="92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1" y="92"/>
                      <a:pt x="1" y="92"/>
                      <a:pt x="2" y="91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1"/>
                      <a:pt x="3" y="90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0"/>
                      <a:pt x="3" y="90"/>
                      <a:pt x="4" y="90"/>
                    </a:cubicBezTo>
                    <a:cubicBezTo>
                      <a:pt x="4" y="90"/>
                      <a:pt x="4" y="90"/>
                      <a:pt x="4" y="90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5" y="89"/>
                      <a:pt x="5" y="89"/>
                      <a:pt x="5" y="89"/>
                    </a:cubicBezTo>
                    <a:cubicBezTo>
                      <a:pt x="5" y="89"/>
                      <a:pt x="6" y="88"/>
                      <a:pt x="6" y="88"/>
                    </a:cubicBezTo>
                    <a:cubicBezTo>
                      <a:pt x="6" y="88"/>
                      <a:pt x="6" y="88"/>
                      <a:pt x="6" y="88"/>
                    </a:cubicBezTo>
                    <a:cubicBezTo>
                      <a:pt x="7" y="88"/>
                      <a:pt x="7" y="88"/>
                      <a:pt x="8" y="87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9" y="87"/>
                      <a:pt x="9" y="87"/>
                      <a:pt x="10" y="87"/>
                    </a:cubicBezTo>
                    <a:cubicBezTo>
                      <a:pt x="12" y="86"/>
                      <a:pt x="13" y="86"/>
                      <a:pt x="14" y="86"/>
                    </a:cubicBezTo>
                    <a:cubicBezTo>
                      <a:pt x="15" y="86"/>
                      <a:pt x="15" y="86"/>
                      <a:pt x="16" y="85"/>
                    </a:cubicBezTo>
                    <a:cubicBezTo>
                      <a:pt x="17" y="85"/>
                      <a:pt x="18" y="85"/>
                      <a:pt x="19" y="8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20" y="84"/>
                      <a:pt x="20" y="84"/>
                      <a:pt x="20" y="84"/>
                    </a:cubicBezTo>
                    <a:cubicBezTo>
                      <a:pt x="21" y="84"/>
                      <a:pt x="22" y="83"/>
                      <a:pt x="24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5" y="82"/>
                      <a:pt x="26" y="82"/>
                      <a:pt x="27" y="81"/>
                    </a:cubicBezTo>
                    <a:cubicBezTo>
                      <a:pt x="28" y="81"/>
                      <a:pt x="28" y="81"/>
                      <a:pt x="29" y="81"/>
                    </a:cubicBezTo>
                    <a:cubicBezTo>
                      <a:pt x="29" y="80"/>
                      <a:pt x="30" y="80"/>
                      <a:pt x="31" y="80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3" y="78"/>
                      <a:pt x="35" y="78"/>
                      <a:pt x="36" y="77"/>
                    </a:cubicBezTo>
                    <a:cubicBezTo>
                      <a:pt x="36" y="77"/>
                      <a:pt x="36" y="77"/>
                      <a:pt x="37" y="77"/>
                    </a:cubicBezTo>
                    <a:cubicBezTo>
                      <a:pt x="37" y="76"/>
                      <a:pt x="37" y="76"/>
                      <a:pt x="37" y="76"/>
                    </a:cubicBezTo>
                    <a:cubicBezTo>
                      <a:pt x="38" y="76"/>
                      <a:pt x="38" y="76"/>
                      <a:pt x="39" y="75"/>
                    </a:cubicBezTo>
                    <a:cubicBezTo>
                      <a:pt x="39" y="75"/>
                      <a:pt x="40" y="75"/>
                      <a:pt x="40" y="74"/>
                    </a:cubicBezTo>
                    <a:cubicBezTo>
                      <a:pt x="40" y="74"/>
                      <a:pt x="41" y="74"/>
                      <a:pt x="41" y="74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4" y="72"/>
                      <a:pt x="44" y="71"/>
                      <a:pt x="44" y="71"/>
                    </a:cubicBezTo>
                    <a:cubicBezTo>
                      <a:pt x="45" y="71"/>
                      <a:pt x="45" y="70"/>
                      <a:pt x="46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6" y="70"/>
                      <a:pt x="46" y="69"/>
                      <a:pt x="46" y="69"/>
                    </a:cubicBezTo>
                    <a:cubicBezTo>
                      <a:pt x="47" y="69"/>
                      <a:pt x="47" y="68"/>
                      <a:pt x="48" y="68"/>
                    </a:cubicBezTo>
                    <a:cubicBezTo>
                      <a:pt x="48" y="68"/>
                      <a:pt x="48" y="67"/>
                      <a:pt x="49" y="67"/>
                    </a:cubicBezTo>
                    <a:cubicBezTo>
                      <a:pt x="49" y="66"/>
                      <a:pt x="50" y="66"/>
                      <a:pt x="50" y="65"/>
                    </a:cubicBezTo>
                    <a:cubicBezTo>
                      <a:pt x="50" y="65"/>
                      <a:pt x="50" y="65"/>
                      <a:pt x="50" y="65"/>
                    </a:cubicBezTo>
                    <a:cubicBezTo>
                      <a:pt x="51" y="65"/>
                      <a:pt x="51" y="64"/>
                      <a:pt x="51" y="64"/>
                    </a:cubicBezTo>
                    <a:cubicBezTo>
                      <a:pt x="51" y="64"/>
                      <a:pt x="52" y="63"/>
                      <a:pt x="52" y="63"/>
                    </a:cubicBezTo>
                    <a:cubicBezTo>
                      <a:pt x="52" y="63"/>
                      <a:pt x="52" y="62"/>
                      <a:pt x="52" y="62"/>
                    </a:cubicBezTo>
                    <a:cubicBezTo>
                      <a:pt x="53" y="62"/>
                      <a:pt x="53" y="61"/>
                      <a:pt x="53" y="61"/>
                    </a:cubicBezTo>
                    <a:cubicBezTo>
                      <a:pt x="53" y="61"/>
                      <a:pt x="53" y="61"/>
                      <a:pt x="53" y="60"/>
                    </a:cubicBezTo>
                    <a:cubicBezTo>
                      <a:pt x="54" y="60"/>
                      <a:pt x="54" y="60"/>
                      <a:pt x="54" y="60"/>
                    </a:cubicBezTo>
                    <a:cubicBezTo>
                      <a:pt x="54" y="60"/>
                      <a:pt x="54" y="59"/>
                      <a:pt x="54" y="59"/>
                    </a:cubicBezTo>
                    <a:cubicBezTo>
                      <a:pt x="54" y="59"/>
                      <a:pt x="55" y="58"/>
                      <a:pt x="55" y="58"/>
                    </a:cubicBezTo>
                    <a:cubicBezTo>
                      <a:pt x="55" y="58"/>
                      <a:pt x="55" y="57"/>
                      <a:pt x="55" y="57"/>
                    </a:cubicBezTo>
                    <a:cubicBezTo>
                      <a:pt x="55" y="57"/>
                      <a:pt x="55" y="56"/>
                      <a:pt x="55" y="56"/>
                    </a:cubicBezTo>
                    <a:cubicBezTo>
                      <a:pt x="55" y="56"/>
                      <a:pt x="55" y="56"/>
                      <a:pt x="56" y="56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6" y="53"/>
                      <a:pt x="57" y="52"/>
                      <a:pt x="57" y="52"/>
                    </a:cubicBezTo>
                    <a:cubicBezTo>
                      <a:pt x="57" y="52"/>
                      <a:pt x="57" y="52"/>
                      <a:pt x="57" y="52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57" y="49"/>
                      <a:pt x="57" y="49"/>
                      <a:pt x="57" y="49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57" y="48"/>
                      <a:pt x="57" y="48"/>
                      <a:pt x="57" y="47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7" y="1"/>
                      <a:pt x="57" y="1"/>
                      <a:pt x="57" y="2"/>
                    </a:cubicBezTo>
                    <a:close/>
                  </a:path>
                </a:pathLst>
              </a:custGeom>
              <a:solidFill>
                <a:srgbClr val="3E3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15">
                <a:extLst>
                  <a:ext uri="{FF2B5EF4-FFF2-40B4-BE49-F238E27FC236}">
                    <a16:creationId xmlns:a16="http://schemas.microsoft.com/office/drawing/2014/main" id="{2D5620D4-D161-47D1-BD84-1BAB21F03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32" y="4109787"/>
                <a:ext cx="2964138" cy="1718058"/>
              </a:xfrm>
              <a:custGeom>
                <a:avLst/>
                <a:gdLst>
                  <a:gd name="T0" fmla="*/ 490 w 536"/>
                  <a:gd name="T1" fmla="*/ 26 h 310"/>
                  <a:gd name="T2" fmla="*/ 490 w 536"/>
                  <a:gd name="T3" fmla="*/ 86 h 310"/>
                  <a:gd name="T4" fmla="*/ 464 w 536"/>
                  <a:gd name="T5" fmla="*/ 96 h 310"/>
                  <a:gd name="T6" fmla="*/ 459 w 536"/>
                  <a:gd name="T7" fmla="*/ 111 h 310"/>
                  <a:gd name="T8" fmla="*/ 536 w 536"/>
                  <a:gd name="T9" fmla="*/ 155 h 310"/>
                  <a:gd name="T10" fmla="*/ 269 w 536"/>
                  <a:gd name="T11" fmla="*/ 310 h 310"/>
                  <a:gd name="T12" fmla="*/ 0 w 536"/>
                  <a:gd name="T13" fmla="*/ 155 h 310"/>
                  <a:gd name="T14" fmla="*/ 77 w 536"/>
                  <a:gd name="T15" fmla="*/ 110 h 310"/>
                  <a:gd name="T16" fmla="*/ 98 w 536"/>
                  <a:gd name="T17" fmla="*/ 111 h 310"/>
                  <a:gd name="T18" fmla="*/ 102 w 536"/>
                  <a:gd name="T19" fmla="*/ 114 h 310"/>
                  <a:gd name="T20" fmla="*/ 118 w 536"/>
                  <a:gd name="T21" fmla="*/ 129 h 310"/>
                  <a:gd name="T22" fmla="*/ 224 w 536"/>
                  <a:gd name="T23" fmla="*/ 127 h 310"/>
                  <a:gd name="T24" fmla="*/ 224 w 536"/>
                  <a:gd name="T25" fmla="*/ 70 h 310"/>
                  <a:gd name="T26" fmla="*/ 222 w 536"/>
                  <a:gd name="T27" fmla="*/ 69 h 310"/>
                  <a:gd name="T28" fmla="*/ 196 w 536"/>
                  <a:gd name="T29" fmla="*/ 59 h 310"/>
                  <a:gd name="T30" fmla="*/ 191 w 536"/>
                  <a:gd name="T31" fmla="*/ 57 h 310"/>
                  <a:gd name="T32" fmla="*/ 190 w 536"/>
                  <a:gd name="T33" fmla="*/ 45 h 310"/>
                  <a:gd name="T34" fmla="*/ 267 w 536"/>
                  <a:gd name="T35" fmla="*/ 0 h 310"/>
                  <a:gd name="T36" fmla="*/ 344 w 536"/>
                  <a:gd name="T37" fmla="*/ 44 h 310"/>
                  <a:gd name="T38" fmla="*/ 369 w 536"/>
                  <a:gd name="T39" fmla="*/ 41 h 310"/>
                  <a:gd name="T40" fmla="*/ 389 w 536"/>
                  <a:gd name="T41" fmla="*/ 25 h 310"/>
                  <a:gd name="T42" fmla="*/ 487 w 536"/>
                  <a:gd name="T43" fmla="*/ 25 h 310"/>
                  <a:gd name="T44" fmla="*/ 490 w 536"/>
                  <a:gd name="T45" fmla="*/ 26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36" h="310">
                    <a:moveTo>
                      <a:pt x="490" y="26"/>
                    </a:moveTo>
                    <a:cubicBezTo>
                      <a:pt x="518" y="43"/>
                      <a:pt x="518" y="70"/>
                      <a:pt x="490" y="86"/>
                    </a:cubicBezTo>
                    <a:cubicBezTo>
                      <a:pt x="482" y="91"/>
                      <a:pt x="474" y="94"/>
                      <a:pt x="464" y="96"/>
                    </a:cubicBezTo>
                    <a:cubicBezTo>
                      <a:pt x="454" y="98"/>
                      <a:pt x="451" y="106"/>
                      <a:pt x="459" y="111"/>
                    </a:cubicBezTo>
                    <a:cubicBezTo>
                      <a:pt x="536" y="155"/>
                      <a:pt x="536" y="155"/>
                      <a:pt x="536" y="155"/>
                    </a:cubicBezTo>
                    <a:cubicBezTo>
                      <a:pt x="269" y="310"/>
                      <a:pt x="269" y="310"/>
                      <a:pt x="269" y="310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77" y="110"/>
                      <a:pt x="77" y="110"/>
                      <a:pt x="77" y="110"/>
                    </a:cubicBezTo>
                    <a:cubicBezTo>
                      <a:pt x="83" y="107"/>
                      <a:pt x="92" y="107"/>
                      <a:pt x="98" y="111"/>
                    </a:cubicBezTo>
                    <a:cubicBezTo>
                      <a:pt x="100" y="111"/>
                      <a:pt x="101" y="113"/>
                      <a:pt x="102" y="114"/>
                    </a:cubicBezTo>
                    <a:cubicBezTo>
                      <a:pt x="105" y="119"/>
                      <a:pt x="111" y="124"/>
                      <a:pt x="118" y="129"/>
                    </a:cubicBezTo>
                    <a:cubicBezTo>
                      <a:pt x="148" y="146"/>
                      <a:pt x="196" y="145"/>
                      <a:pt x="224" y="127"/>
                    </a:cubicBezTo>
                    <a:cubicBezTo>
                      <a:pt x="250" y="111"/>
                      <a:pt x="250" y="86"/>
                      <a:pt x="224" y="70"/>
                    </a:cubicBezTo>
                    <a:cubicBezTo>
                      <a:pt x="224" y="70"/>
                      <a:pt x="223" y="69"/>
                      <a:pt x="222" y="69"/>
                    </a:cubicBezTo>
                    <a:cubicBezTo>
                      <a:pt x="214" y="64"/>
                      <a:pt x="205" y="61"/>
                      <a:pt x="196" y="59"/>
                    </a:cubicBezTo>
                    <a:cubicBezTo>
                      <a:pt x="194" y="58"/>
                      <a:pt x="192" y="58"/>
                      <a:pt x="191" y="57"/>
                    </a:cubicBezTo>
                    <a:cubicBezTo>
                      <a:pt x="185" y="54"/>
                      <a:pt x="184" y="48"/>
                      <a:pt x="190" y="45"/>
                    </a:cubicBezTo>
                    <a:cubicBezTo>
                      <a:pt x="267" y="0"/>
                      <a:pt x="267" y="0"/>
                      <a:pt x="267" y="0"/>
                    </a:cubicBezTo>
                    <a:cubicBezTo>
                      <a:pt x="344" y="44"/>
                      <a:pt x="344" y="44"/>
                      <a:pt x="344" y="44"/>
                    </a:cubicBezTo>
                    <a:cubicBezTo>
                      <a:pt x="352" y="49"/>
                      <a:pt x="365" y="47"/>
                      <a:pt x="369" y="41"/>
                    </a:cubicBezTo>
                    <a:cubicBezTo>
                      <a:pt x="373" y="35"/>
                      <a:pt x="380" y="29"/>
                      <a:pt x="389" y="25"/>
                    </a:cubicBezTo>
                    <a:cubicBezTo>
                      <a:pt x="417" y="10"/>
                      <a:pt x="460" y="10"/>
                      <a:pt x="487" y="25"/>
                    </a:cubicBezTo>
                    <a:cubicBezTo>
                      <a:pt x="488" y="25"/>
                      <a:pt x="489" y="26"/>
                      <a:pt x="490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16">
                <a:extLst>
                  <a:ext uri="{FF2B5EF4-FFF2-40B4-BE49-F238E27FC236}">
                    <a16:creationId xmlns:a16="http://schemas.microsoft.com/office/drawing/2014/main" id="{8CA7D311-FF23-4946-AA44-F3D1BD764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058" y="4137196"/>
                <a:ext cx="2841618" cy="1651229"/>
              </a:xfrm>
              <a:custGeom>
                <a:avLst/>
                <a:gdLst>
                  <a:gd name="T0" fmla="*/ 0 w 514"/>
                  <a:gd name="T1" fmla="*/ 149 h 298"/>
                  <a:gd name="T2" fmla="*/ 68 w 514"/>
                  <a:gd name="T3" fmla="*/ 109 h 298"/>
                  <a:gd name="T4" fmla="*/ 76 w 514"/>
                  <a:gd name="T5" fmla="*/ 107 h 298"/>
                  <a:gd name="T6" fmla="*/ 84 w 514"/>
                  <a:gd name="T7" fmla="*/ 109 h 298"/>
                  <a:gd name="T8" fmla="*/ 86 w 514"/>
                  <a:gd name="T9" fmla="*/ 111 h 298"/>
                  <a:gd name="T10" fmla="*/ 105 w 514"/>
                  <a:gd name="T11" fmla="*/ 127 h 298"/>
                  <a:gd name="T12" fmla="*/ 159 w 514"/>
                  <a:gd name="T13" fmla="*/ 141 h 298"/>
                  <a:gd name="T14" fmla="*/ 216 w 514"/>
                  <a:gd name="T15" fmla="*/ 126 h 298"/>
                  <a:gd name="T16" fmla="*/ 238 w 514"/>
                  <a:gd name="T17" fmla="*/ 93 h 298"/>
                  <a:gd name="T18" fmla="*/ 216 w 514"/>
                  <a:gd name="T19" fmla="*/ 60 h 298"/>
                  <a:gd name="T20" fmla="*/ 213 w 514"/>
                  <a:gd name="T21" fmla="*/ 58 h 298"/>
                  <a:gd name="T22" fmla="*/ 186 w 514"/>
                  <a:gd name="T23" fmla="*/ 48 h 298"/>
                  <a:gd name="T24" fmla="*/ 182 w 514"/>
                  <a:gd name="T25" fmla="*/ 46 h 298"/>
                  <a:gd name="T26" fmla="*/ 180 w 514"/>
                  <a:gd name="T27" fmla="*/ 44 h 298"/>
                  <a:gd name="T28" fmla="*/ 182 w 514"/>
                  <a:gd name="T29" fmla="*/ 43 h 298"/>
                  <a:gd name="T30" fmla="*/ 256 w 514"/>
                  <a:gd name="T31" fmla="*/ 0 h 298"/>
                  <a:gd name="T32" fmla="*/ 330 w 514"/>
                  <a:gd name="T33" fmla="*/ 43 h 298"/>
                  <a:gd name="T34" fmla="*/ 344 w 514"/>
                  <a:gd name="T35" fmla="*/ 46 h 298"/>
                  <a:gd name="T36" fmla="*/ 363 w 514"/>
                  <a:gd name="T37" fmla="*/ 38 h 298"/>
                  <a:gd name="T38" fmla="*/ 380 w 514"/>
                  <a:gd name="T39" fmla="*/ 23 h 298"/>
                  <a:gd name="T40" fmla="*/ 427 w 514"/>
                  <a:gd name="T41" fmla="*/ 13 h 298"/>
                  <a:gd name="T42" fmla="*/ 474 w 514"/>
                  <a:gd name="T43" fmla="*/ 24 h 298"/>
                  <a:gd name="T44" fmla="*/ 476 w 514"/>
                  <a:gd name="T45" fmla="*/ 25 h 298"/>
                  <a:gd name="T46" fmla="*/ 495 w 514"/>
                  <a:gd name="T47" fmla="*/ 50 h 298"/>
                  <a:gd name="T48" fmla="*/ 476 w 514"/>
                  <a:gd name="T49" fmla="*/ 76 h 298"/>
                  <a:gd name="T50" fmla="*/ 452 w 514"/>
                  <a:gd name="T51" fmla="*/ 85 h 298"/>
                  <a:gd name="T52" fmla="*/ 438 w 514"/>
                  <a:gd name="T53" fmla="*/ 97 h 298"/>
                  <a:gd name="T54" fmla="*/ 445 w 514"/>
                  <a:gd name="T55" fmla="*/ 109 h 298"/>
                  <a:gd name="T56" fmla="*/ 514 w 514"/>
                  <a:gd name="T57" fmla="*/ 149 h 298"/>
                  <a:gd name="T58" fmla="*/ 258 w 514"/>
                  <a:gd name="T59" fmla="*/ 298 h 298"/>
                  <a:gd name="T60" fmla="*/ 0 w 514"/>
                  <a:gd name="T61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14" h="298">
                    <a:moveTo>
                      <a:pt x="0" y="149"/>
                    </a:moveTo>
                    <a:cubicBezTo>
                      <a:pt x="68" y="109"/>
                      <a:pt x="68" y="109"/>
                      <a:pt x="68" y="109"/>
                    </a:cubicBezTo>
                    <a:cubicBezTo>
                      <a:pt x="71" y="108"/>
                      <a:pt x="73" y="107"/>
                      <a:pt x="76" y="107"/>
                    </a:cubicBezTo>
                    <a:cubicBezTo>
                      <a:pt x="79" y="107"/>
                      <a:pt x="82" y="108"/>
                      <a:pt x="84" y="109"/>
                    </a:cubicBezTo>
                    <a:cubicBezTo>
                      <a:pt x="85" y="110"/>
                      <a:pt x="86" y="110"/>
                      <a:pt x="86" y="111"/>
                    </a:cubicBezTo>
                    <a:cubicBezTo>
                      <a:pt x="90" y="117"/>
                      <a:pt x="96" y="123"/>
                      <a:pt x="105" y="127"/>
                    </a:cubicBezTo>
                    <a:cubicBezTo>
                      <a:pt x="119" y="136"/>
                      <a:pt x="139" y="141"/>
                      <a:pt x="159" y="141"/>
                    </a:cubicBezTo>
                    <a:cubicBezTo>
                      <a:pt x="181" y="141"/>
                      <a:pt x="201" y="135"/>
                      <a:pt x="216" y="126"/>
                    </a:cubicBezTo>
                    <a:cubicBezTo>
                      <a:pt x="230" y="117"/>
                      <a:pt x="238" y="105"/>
                      <a:pt x="238" y="93"/>
                    </a:cubicBezTo>
                    <a:cubicBezTo>
                      <a:pt x="238" y="80"/>
                      <a:pt x="230" y="68"/>
                      <a:pt x="216" y="60"/>
                    </a:cubicBezTo>
                    <a:cubicBezTo>
                      <a:pt x="215" y="59"/>
                      <a:pt x="214" y="58"/>
                      <a:pt x="213" y="58"/>
                    </a:cubicBezTo>
                    <a:cubicBezTo>
                      <a:pt x="206" y="53"/>
                      <a:pt x="196" y="50"/>
                      <a:pt x="186" y="48"/>
                    </a:cubicBezTo>
                    <a:cubicBezTo>
                      <a:pt x="185" y="47"/>
                      <a:pt x="183" y="47"/>
                      <a:pt x="182" y="46"/>
                    </a:cubicBezTo>
                    <a:cubicBezTo>
                      <a:pt x="181" y="45"/>
                      <a:pt x="180" y="45"/>
                      <a:pt x="180" y="44"/>
                    </a:cubicBezTo>
                    <a:cubicBezTo>
                      <a:pt x="180" y="44"/>
                      <a:pt x="181" y="44"/>
                      <a:pt x="182" y="43"/>
                    </a:cubicBezTo>
                    <a:cubicBezTo>
                      <a:pt x="256" y="0"/>
                      <a:pt x="256" y="0"/>
                      <a:pt x="256" y="0"/>
                    </a:cubicBezTo>
                    <a:cubicBezTo>
                      <a:pt x="330" y="43"/>
                      <a:pt x="330" y="43"/>
                      <a:pt x="330" y="43"/>
                    </a:cubicBezTo>
                    <a:cubicBezTo>
                      <a:pt x="334" y="45"/>
                      <a:pt x="339" y="46"/>
                      <a:pt x="344" y="46"/>
                    </a:cubicBezTo>
                    <a:cubicBezTo>
                      <a:pt x="350" y="46"/>
                      <a:pt x="359" y="44"/>
                      <a:pt x="363" y="38"/>
                    </a:cubicBezTo>
                    <a:cubicBezTo>
                      <a:pt x="366" y="33"/>
                      <a:pt x="372" y="28"/>
                      <a:pt x="380" y="23"/>
                    </a:cubicBezTo>
                    <a:cubicBezTo>
                      <a:pt x="393" y="17"/>
                      <a:pt x="409" y="13"/>
                      <a:pt x="427" y="13"/>
                    </a:cubicBezTo>
                    <a:cubicBezTo>
                      <a:pt x="444" y="13"/>
                      <a:pt x="461" y="17"/>
                      <a:pt x="474" y="24"/>
                    </a:cubicBezTo>
                    <a:cubicBezTo>
                      <a:pt x="475" y="24"/>
                      <a:pt x="475" y="25"/>
                      <a:pt x="476" y="25"/>
                    </a:cubicBezTo>
                    <a:cubicBezTo>
                      <a:pt x="488" y="32"/>
                      <a:pt x="495" y="41"/>
                      <a:pt x="495" y="50"/>
                    </a:cubicBezTo>
                    <a:cubicBezTo>
                      <a:pt x="495" y="60"/>
                      <a:pt x="488" y="69"/>
                      <a:pt x="476" y="76"/>
                    </a:cubicBezTo>
                    <a:cubicBezTo>
                      <a:pt x="469" y="80"/>
                      <a:pt x="461" y="83"/>
                      <a:pt x="452" y="85"/>
                    </a:cubicBezTo>
                    <a:cubicBezTo>
                      <a:pt x="444" y="86"/>
                      <a:pt x="439" y="91"/>
                      <a:pt x="438" y="97"/>
                    </a:cubicBezTo>
                    <a:cubicBezTo>
                      <a:pt x="437" y="102"/>
                      <a:pt x="440" y="106"/>
                      <a:pt x="445" y="109"/>
                    </a:cubicBezTo>
                    <a:cubicBezTo>
                      <a:pt x="514" y="149"/>
                      <a:pt x="514" y="149"/>
                      <a:pt x="514" y="149"/>
                    </a:cubicBezTo>
                    <a:cubicBezTo>
                      <a:pt x="258" y="298"/>
                      <a:pt x="258" y="298"/>
                      <a:pt x="258" y="298"/>
                    </a:cubicBez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F39F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17">
                <a:extLst>
                  <a:ext uri="{FF2B5EF4-FFF2-40B4-BE49-F238E27FC236}">
                    <a16:creationId xmlns:a16="http://schemas.microsoft.com/office/drawing/2014/main" id="{C6F1C8CF-47F0-48C0-AD65-9735AC8BF4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5766" y="4968816"/>
                <a:ext cx="1475803" cy="1119383"/>
              </a:xfrm>
              <a:custGeom>
                <a:avLst/>
                <a:gdLst>
                  <a:gd name="T0" fmla="*/ 1060 w 1060"/>
                  <a:gd name="T1" fmla="*/ 0 h 804"/>
                  <a:gd name="T2" fmla="*/ 1060 w 1060"/>
                  <a:gd name="T3" fmla="*/ 187 h 804"/>
                  <a:gd name="T4" fmla="*/ 0 w 1060"/>
                  <a:gd name="T5" fmla="*/ 804 h 804"/>
                  <a:gd name="T6" fmla="*/ 0 w 1060"/>
                  <a:gd name="T7" fmla="*/ 617 h 804"/>
                  <a:gd name="T8" fmla="*/ 1060 w 1060"/>
                  <a:gd name="T9" fmla="*/ 0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0" h="804">
                    <a:moveTo>
                      <a:pt x="1060" y="0"/>
                    </a:moveTo>
                    <a:lnTo>
                      <a:pt x="1060" y="187"/>
                    </a:lnTo>
                    <a:lnTo>
                      <a:pt x="0" y="804"/>
                    </a:lnTo>
                    <a:lnTo>
                      <a:pt x="0" y="617"/>
                    </a:lnTo>
                    <a:lnTo>
                      <a:pt x="1060" y="0"/>
                    </a:lnTo>
                    <a:close/>
                  </a:path>
                </a:pathLst>
              </a:custGeom>
              <a:solidFill>
                <a:srgbClr val="F39F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18">
                <a:extLst>
                  <a:ext uri="{FF2B5EF4-FFF2-40B4-BE49-F238E27FC236}">
                    <a16:creationId xmlns:a16="http://schemas.microsoft.com/office/drawing/2014/main" id="{DF028DBA-58C7-46B3-A060-668E871A2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7432" y="4968816"/>
                <a:ext cx="1488334" cy="1119383"/>
              </a:xfrm>
              <a:custGeom>
                <a:avLst/>
                <a:gdLst>
                  <a:gd name="T0" fmla="*/ 1069 w 1069"/>
                  <a:gd name="T1" fmla="*/ 617 h 804"/>
                  <a:gd name="T2" fmla="*/ 1069 w 1069"/>
                  <a:gd name="T3" fmla="*/ 804 h 804"/>
                  <a:gd name="T4" fmla="*/ 0 w 1069"/>
                  <a:gd name="T5" fmla="*/ 187 h 804"/>
                  <a:gd name="T6" fmla="*/ 0 w 1069"/>
                  <a:gd name="T7" fmla="*/ 0 h 804"/>
                  <a:gd name="T8" fmla="*/ 1069 w 1069"/>
                  <a:gd name="T9" fmla="*/ 617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9" h="804">
                    <a:moveTo>
                      <a:pt x="1069" y="617"/>
                    </a:moveTo>
                    <a:lnTo>
                      <a:pt x="1069" y="804"/>
                    </a:lnTo>
                    <a:lnTo>
                      <a:pt x="0" y="187"/>
                    </a:lnTo>
                    <a:lnTo>
                      <a:pt x="0" y="0"/>
                    </a:lnTo>
                    <a:lnTo>
                      <a:pt x="1069" y="617"/>
                    </a:lnTo>
                    <a:close/>
                  </a:path>
                </a:pathLst>
              </a:custGeom>
              <a:solidFill>
                <a:srgbClr val="F0848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19">
                <a:extLst>
                  <a:ext uri="{FF2B5EF4-FFF2-40B4-BE49-F238E27FC236}">
                    <a16:creationId xmlns:a16="http://schemas.microsoft.com/office/drawing/2014/main" id="{1F2CD81E-6C5F-406B-BBEF-ACB67EF6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0454" y="4109787"/>
                <a:ext cx="446918" cy="537415"/>
              </a:xfrm>
              <a:custGeom>
                <a:avLst/>
                <a:gdLst>
                  <a:gd name="T0" fmla="*/ 5 w 81"/>
                  <a:gd name="T1" fmla="*/ 44 h 97"/>
                  <a:gd name="T2" fmla="*/ 4 w 81"/>
                  <a:gd name="T3" fmla="*/ 44 h 97"/>
                  <a:gd name="T4" fmla="*/ 4 w 81"/>
                  <a:gd name="T5" fmla="*/ 45 h 97"/>
                  <a:gd name="T6" fmla="*/ 4 w 81"/>
                  <a:gd name="T7" fmla="*/ 45 h 97"/>
                  <a:gd name="T8" fmla="*/ 3 w 81"/>
                  <a:gd name="T9" fmla="*/ 45 h 97"/>
                  <a:gd name="T10" fmla="*/ 3 w 81"/>
                  <a:gd name="T11" fmla="*/ 46 h 97"/>
                  <a:gd name="T12" fmla="*/ 2 w 81"/>
                  <a:gd name="T13" fmla="*/ 46 h 97"/>
                  <a:gd name="T14" fmla="*/ 2 w 81"/>
                  <a:gd name="T15" fmla="*/ 46 h 97"/>
                  <a:gd name="T16" fmla="*/ 2 w 81"/>
                  <a:gd name="T17" fmla="*/ 47 h 97"/>
                  <a:gd name="T18" fmla="*/ 2 w 81"/>
                  <a:gd name="T19" fmla="*/ 47 h 97"/>
                  <a:gd name="T20" fmla="*/ 1 w 81"/>
                  <a:gd name="T21" fmla="*/ 47 h 97"/>
                  <a:gd name="T22" fmla="*/ 1 w 81"/>
                  <a:gd name="T23" fmla="*/ 47 h 97"/>
                  <a:gd name="T24" fmla="*/ 1 w 81"/>
                  <a:gd name="T25" fmla="*/ 48 h 97"/>
                  <a:gd name="T26" fmla="*/ 1 w 81"/>
                  <a:gd name="T27" fmla="*/ 48 h 97"/>
                  <a:gd name="T28" fmla="*/ 1 w 81"/>
                  <a:gd name="T29" fmla="*/ 48 h 97"/>
                  <a:gd name="T30" fmla="*/ 1 w 81"/>
                  <a:gd name="T31" fmla="*/ 49 h 97"/>
                  <a:gd name="T32" fmla="*/ 0 w 81"/>
                  <a:gd name="T33" fmla="*/ 49 h 97"/>
                  <a:gd name="T34" fmla="*/ 0 w 81"/>
                  <a:gd name="T35" fmla="*/ 49 h 97"/>
                  <a:gd name="T36" fmla="*/ 0 w 81"/>
                  <a:gd name="T37" fmla="*/ 49 h 97"/>
                  <a:gd name="T38" fmla="*/ 0 w 81"/>
                  <a:gd name="T39" fmla="*/ 50 h 97"/>
                  <a:gd name="T40" fmla="*/ 0 w 81"/>
                  <a:gd name="T41" fmla="*/ 50 h 97"/>
                  <a:gd name="T42" fmla="*/ 0 w 81"/>
                  <a:gd name="T43" fmla="*/ 50 h 97"/>
                  <a:gd name="T44" fmla="*/ 0 w 81"/>
                  <a:gd name="T45" fmla="*/ 50 h 97"/>
                  <a:gd name="T46" fmla="*/ 0 w 81"/>
                  <a:gd name="T47" fmla="*/ 97 h 97"/>
                  <a:gd name="T48" fmla="*/ 0 w 81"/>
                  <a:gd name="T49" fmla="*/ 97 h 97"/>
                  <a:gd name="T50" fmla="*/ 0 w 81"/>
                  <a:gd name="T51" fmla="*/ 96 h 97"/>
                  <a:gd name="T52" fmla="*/ 0 w 81"/>
                  <a:gd name="T53" fmla="*/ 96 h 97"/>
                  <a:gd name="T54" fmla="*/ 0 w 81"/>
                  <a:gd name="T55" fmla="*/ 96 h 97"/>
                  <a:gd name="T56" fmla="*/ 1 w 81"/>
                  <a:gd name="T57" fmla="*/ 95 h 97"/>
                  <a:gd name="T58" fmla="*/ 1 w 81"/>
                  <a:gd name="T59" fmla="*/ 95 h 97"/>
                  <a:gd name="T60" fmla="*/ 1 w 81"/>
                  <a:gd name="T61" fmla="*/ 94 h 97"/>
                  <a:gd name="T62" fmla="*/ 1 w 81"/>
                  <a:gd name="T63" fmla="*/ 94 h 97"/>
                  <a:gd name="T64" fmla="*/ 2 w 81"/>
                  <a:gd name="T65" fmla="*/ 93 h 97"/>
                  <a:gd name="T66" fmla="*/ 2 w 81"/>
                  <a:gd name="T67" fmla="*/ 93 h 97"/>
                  <a:gd name="T68" fmla="*/ 2 w 81"/>
                  <a:gd name="T69" fmla="*/ 93 h 97"/>
                  <a:gd name="T70" fmla="*/ 3 w 81"/>
                  <a:gd name="T71" fmla="*/ 92 h 97"/>
                  <a:gd name="T72" fmla="*/ 3 w 81"/>
                  <a:gd name="T73" fmla="*/ 92 h 97"/>
                  <a:gd name="T74" fmla="*/ 4 w 81"/>
                  <a:gd name="T75" fmla="*/ 91 h 97"/>
                  <a:gd name="T76" fmla="*/ 5 w 81"/>
                  <a:gd name="T77" fmla="*/ 91 h 97"/>
                  <a:gd name="T78" fmla="*/ 81 w 81"/>
                  <a:gd name="T79" fmla="*/ 47 h 97"/>
                  <a:gd name="T80" fmla="*/ 81 w 81"/>
                  <a:gd name="T81" fmla="*/ 0 h 97"/>
                  <a:gd name="T82" fmla="*/ 5 w 81"/>
                  <a:gd name="T83" fmla="*/ 4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97">
                    <a:moveTo>
                      <a:pt x="5" y="44"/>
                    </a:moveTo>
                    <a:cubicBezTo>
                      <a:pt x="5" y="44"/>
                      <a:pt x="5" y="44"/>
                      <a:pt x="4" y="44"/>
                    </a:cubicBezTo>
                    <a:cubicBezTo>
                      <a:pt x="4" y="44"/>
                      <a:pt x="4" y="44"/>
                      <a:pt x="4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3" y="45"/>
                      <a:pt x="3" y="46"/>
                      <a:pt x="3" y="46"/>
                    </a:cubicBezTo>
                    <a:cubicBezTo>
                      <a:pt x="3" y="46"/>
                      <a:pt x="3" y="46"/>
                      <a:pt x="2" y="46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2" y="46"/>
                      <a:pt x="2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1" y="47"/>
                      <a:pt x="1" y="47"/>
                      <a:pt x="1" y="47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1" y="48"/>
                      <a:pt x="1" y="48"/>
                      <a:pt x="1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49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97"/>
                      <a:pt x="0" y="97"/>
                      <a:pt x="0" y="96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95"/>
                      <a:pt x="0" y="95"/>
                      <a:pt x="1" y="95"/>
                    </a:cubicBezTo>
                    <a:cubicBezTo>
                      <a:pt x="1" y="95"/>
                      <a:pt x="1" y="95"/>
                      <a:pt x="1" y="95"/>
                    </a:cubicBezTo>
                    <a:cubicBezTo>
                      <a:pt x="1" y="95"/>
                      <a:pt x="1" y="94"/>
                      <a:pt x="1" y="94"/>
                    </a:cubicBezTo>
                    <a:cubicBezTo>
                      <a:pt x="1" y="94"/>
                      <a:pt x="1" y="94"/>
                      <a:pt x="1" y="94"/>
                    </a:cubicBezTo>
                    <a:cubicBezTo>
                      <a:pt x="1" y="94"/>
                      <a:pt x="1" y="94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2" y="93"/>
                      <a:pt x="2" y="93"/>
                      <a:pt x="2" y="93"/>
                    </a:cubicBezTo>
                    <a:cubicBezTo>
                      <a:pt x="3" y="92"/>
                      <a:pt x="3" y="92"/>
                      <a:pt x="3" y="92"/>
                    </a:cubicBezTo>
                    <a:cubicBezTo>
                      <a:pt x="3" y="92"/>
                      <a:pt x="3" y="92"/>
                      <a:pt x="3" y="92"/>
                    </a:cubicBezTo>
                    <a:cubicBezTo>
                      <a:pt x="4" y="92"/>
                      <a:pt x="4" y="92"/>
                      <a:pt x="4" y="91"/>
                    </a:cubicBezTo>
                    <a:cubicBezTo>
                      <a:pt x="4" y="91"/>
                      <a:pt x="4" y="91"/>
                      <a:pt x="5" y="91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1" y="0"/>
                      <a:pt x="81" y="0"/>
                      <a:pt x="81" y="0"/>
                    </a:cubicBezTo>
                    <a:lnTo>
                      <a:pt x="5" y="44"/>
                    </a:lnTo>
                    <a:close/>
                  </a:path>
                </a:pathLst>
              </a:custGeom>
              <a:solidFill>
                <a:srgbClr val="0D4D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0">
                <a:extLst>
                  <a:ext uri="{FF2B5EF4-FFF2-40B4-BE49-F238E27FC236}">
                    <a16:creationId xmlns:a16="http://schemas.microsoft.com/office/drawing/2014/main" id="{46927B09-7E04-44FB-A341-54C7035B14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9043" y="4658341"/>
                <a:ext cx="1343538" cy="570830"/>
              </a:xfrm>
              <a:custGeom>
                <a:avLst/>
                <a:gdLst>
                  <a:gd name="T0" fmla="*/ 243 w 243"/>
                  <a:gd name="T1" fmla="*/ 4 h 103"/>
                  <a:gd name="T2" fmla="*/ 242 w 243"/>
                  <a:gd name="T3" fmla="*/ 9 h 103"/>
                  <a:gd name="T4" fmla="*/ 240 w 243"/>
                  <a:gd name="T5" fmla="*/ 13 h 103"/>
                  <a:gd name="T6" fmla="*/ 237 w 243"/>
                  <a:gd name="T7" fmla="*/ 17 h 103"/>
                  <a:gd name="T8" fmla="*/ 232 w 243"/>
                  <a:gd name="T9" fmla="*/ 22 h 103"/>
                  <a:gd name="T10" fmla="*/ 228 w 243"/>
                  <a:gd name="T11" fmla="*/ 26 h 103"/>
                  <a:gd name="T12" fmla="*/ 220 w 243"/>
                  <a:gd name="T13" fmla="*/ 31 h 103"/>
                  <a:gd name="T14" fmla="*/ 213 w 243"/>
                  <a:gd name="T15" fmla="*/ 34 h 103"/>
                  <a:gd name="T16" fmla="*/ 205 w 243"/>
                  <a:gd name="T17" fmla="*/ 37 h 103"/>
                  <a:gd name="T18" fmla="*/ 198 w 243"/>
                  <a:gd name="T19" fmla="*/ 39 h 103"/>
                  <a:gd name="T20" fmla="*/ 192 w 243"/>
                  <a:gd name="T21" fmla="*/ 40 h 103"/>
                  <a:gd name="T22" fmla="*/ 182 w 243"/>
                  <a:gd name="T23" fmla="*/ 41 h 103"/>
                  <a:gd name="T24" fmla="*/ 174 w 243"/>
                  <a:gd name="T25" fmla="*/ 42 h 103"/>
                  <a:gd name="T26" fmla="*/ 166 w 243"/>
                  <a:gd name="T27" fmla="*/ 42 h 103"/>
                  <a:gd name="T28" fmla="*/ 159 w 243"/>
                  <a:gd name="T29" fmla="*/ 42 h 103"/>
                  <a:gd name="T30" fmla="*/ 152 w 243"/>
                  <a:gd name="T31" fmla="*/ 41 h 103"/>
                  <a:gd name="T32" fmla="*/ 145 w 243"/>
                  <a:gd name="T33" fmla="*/ 39 h 103"/>
                  <a:gd name="T34" fmla="*/ 137 w 243"/>
                  <a:gd name="T35" fmla="*/ 37 h 103"/>
                  <a:gd name="T36" fmla="*/ 128 w 243"/>
                  <a:gd name="T37" fmla="*/ 34 h 103"/>
                  <a:gd name="T38" fmla="*/ 118 w 243"/>
                  <a:gd name="T39" fmla="*/ 30 h 103"/>
                  <a:gd name="T40" fmla="*/ 97 w 243"/>
                  <a:gd name="T41" fmla="*/ 11 h 103"/>
                  <a:gd name="T42" fmla="*/ 94 w 243"/>
                  <a:gd name="T43" fmla="*/ 10 h 103"/>
                  <a:gd name="T44" fmla="*/ 92 w 243"/>
                  <a:gd name="T45" fmla="*/ 10 h 103"/>
                  <a:gd name="T46" fmla="*/ 90 w 243"/>
                  <a:gd name="T47" fmla="*/ 9 h 103"/>
                  <a:gd name="T48" fmla="*/ 88 w 243"/>
                  <a:gd name="T49" fmla="*/ 9 h 103"/>
                  <a:gd name="T50" fmla="*/ 86 w 243"/>
                  <a:gd name="T51" fmla="*/ 9 h 103"/>
                  <a:gd name="T52" fmla="*/ 83 w 243"/>
                  <a:gd name="T53" fmla="*/ 9 h 103"/>
                  <a:gd name="T54" fmla="*/ 81 w 243"/>
                  <a:gd name="T55" fmla="*/ 10 h 103"/>
                  <a:gd name="T56" fmla="*/ 78 w 243"/>
                  <a:gd name="T57" fmla="*/ 11 h 103"/>
                  <a:gd name="T58" fmla="*/ 0 w 243"/>
                  <a:gd name="T59" fmla="*/ 103 h 103"/>
                  <a:gd name="T60" fmla="*/ 79 w 243"/>
                  <a:gd name="T61" fmla="*/ 57 h 103"/>
                  <a:gd name="T62" fmla="*/ 82 w 243"/>
                  <a:gd name="T63" fmla="*/ 56 h 103"/>
                  <a:gd name="T64" fmla="*/ 86 w 243"/>
                  <a:gd name="T65" fmla="*/ 56 h 103"/>
                  <a:gd name="T66" fmla="*/ 89 w 243"/>
                  <a:gd name="T67" fmla="*/ 56 h 103"/>
                  <a:gd name="T68" fmla="*/ 92 w 243"/>
                  <a:gd name="T69" fmla="*/ 56 h 103"/>
                  <a:gd name="T70" fmla="*/ 96 w 243"/>
                  <a:gd name="T71" fmla="*/ 57 h 103"/>
                  <a:gd name="T72" fmla="*/ 102 w 243"/>
                  <a:gd name="T73" fmla="*/ 62 h 103"/>
                  <a:gd name="T74" fmla="*/ 125 w 243"/>
                  <a:gd name="T75" fmla="*/ 80 h 103"/>
                  <a:gd name="T76" fmla="*/ 133 w 243"/>
                  <a:gd name="T77" fmla="*/ 83 h 103"/>
                  <a:gd name="T78" fmla="*/ 138 w 243"/>
                  <a:gd name="T79" fmla="*/ 85 h 103"/>
                  <a:gd name="T80" fmla="*/ 145 w 243"/>
                  <a:gd name="T81" fmla="*/ 86 h 103"/>
                  <a:gd name="T82" fmla="*/ 152 w 243"/>
                  <a:gd name="T83" fmla="*/ 88 h 103"/>
                  <a:gd name="T84" fmla="*/ 157 w 243"/>
                  <a:gd name="T85" fmla="*/ 88 h 103"/>
                  <a:gd name="T86" fmla="*/ 162 w 243"/>
                  <a:gd name="T87" fmla="*/ 89 h 103"/>
                  <a:gd name="T88" fmla="*/ 167 w 243"/>
                  <a:gd name="T89" fmla="*/ 89 h 103"/>
                  <a:gd name="T90" fmla="*/ 175 w 243"/>
                  <a:gd name="T91" fmla="*/ 89 h 103"/>
                  <a:gd name="T92" fmla="*/ 182 w 243"/>
                  <a:gd name="T93" fmla="*/ 88 h 103"/>
                  <a:gd name="T94" fmla="*/ 188 w 243"/>
                  <a:gd name="T95" fmla="*/ 88 h 103"/>
                  <a:gd name="T96" fmla="*/ 195 w 243"/>
                  <a:gd name="T97" fmla="*/ 86 h 103"/>
                  <a:gd name="T98" fmla="*/ 202 w 243"/>
                  <a:gd name="T99" fmla="*/ 85 h 103"/>
                  <a:gd name="T100" fmla="*/ 206 w 243"/>
                  <a:gd name="T101" fmla="*/ 84 h 103"/>
                  <a:gd name="T102" fmla="*/ 214 w 243"/>
                  <a:gd name="T103" fmla="*/ 81 h 103"/>
                  <a:gd name="T104" fmla="*/ 223 w 243"/>
                  <a:gd name="T105" fmla="*/ 76 h 103"/>
                  <a:gd name="T106" fmla="*/ 228 w 243"/>
                  <a:gd name="T107" fmla="*/ 73 h 103"/>
                  <a:gd name="T108" fmla="*/ 232 w 243"/>
                  <a:gd name="T109" fmla="*/ 69 h 103"/>
                  <a:gd name="T110" fmla="*/ 236 w 243"/>
                  <a:gd name="T111" fmla="*/ 65 h 103"/>
                  <a:gd name="T112" fmla="*/ 239 w 243"/>
                  <a:gd name="T113" fmla="*/ 62 h 103"/>
                  <a:gd name="T114" fmla="*/ 240 w 243"/>
                  <a:gd name="T115" fmla="*/ 58 h 103"/>
                  <a:gd name="T116" fmla="*/ 242 w 243"/>
                  <a:gd name="T117" fmla="*/ 55 h 103"/>
                  <a:gd name="T118" fmla="*/ 243 w 243"/>
                  <a:gd name="T119" fmla="*/ 52 h 103"/>
                  <a:gd name="T120" fmla="*/ 243 w 243"/>
                  <a:gd name="T121" fmla="*/ 48 h 103"/>
                  <a:gd name="T122" fmla="*/ 243 w 243"/>
                  <a:gd name="T123" fmla="*/ 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3" h="103">
                    <a:moveTo>
                      <a:pt x="243" y="1"/>
                    </a:moveTo>
                    <a:cubicBezTo>
                      <a:pt x="243" y="2"/>
                      <a:pt x="243" y="2"/>
                      <a:pt x="243" y="2"/>
                    </a:cubicBezTo>
                    <a:cubicBezTo>
                      <a:pt x="243" y="3"/>
                      <a:pt x="243" y="3"/>
                      <a:pt x="243" y="3"/>
                    </a:cubicBezTo>
                    <a:cubicBezTo>
                      <a:pt x="243" y="4"/>
                      <a:pt x="243" y="4"/>
                      <a:pt x="243" y="4"/>
                    </a:cubicBezTo>
                    <a:cubicBezTo>
                      <a:pt x="243" y="5"/>
                      <a:pt x="243" y="5"/>
                      <a:pt x="243" y="5"/>
                    </a:cubicBezTo>
                    <a:cubicBezTo>
                      <a:pt x="243" y="6"/>
                      <a:pt x="243" y="6"/>
                      <a:pt x="243" y="6"/>
                    </a:cubicBezTo>
                    <a:cubicBezTo>
                      <a:pt x="242" y="7"/>
                      <a:pt x="242" y="7"/>
                      <a:pt x="242" y="8"/>
                    </a:cubicBezTo>
                    <a:cubicBezTo>
                      <a:pt x="242" y="8"/>
                      <a:pt x="242" y="8"/>
                      <a:pt x="242" y="9"/>
                    </a:cubicBezTo>
                    <a:cubicBezTo>
                      <a:pt x="242" y="9"/>
                      <a:pt x="242" y="9"/>
                      <a:pt x="241" y="10"/>
                    </a:cubicBezTo>
                    <a:cubicBezTo>
                      <a:pt x="241" y="10"/>
                      <a:pt x="241" y="10"/>
                      <a:pt x="241" y="11"/>
                    </a:cubicBezTo>
                    <a:cubicBezTo>
                      <a:pt x="241" y="11"/>
                      <a:pt x="241" y="11"/>
                      <a:pt x="241" y="12"/>
                    </a:cubicBezTo>
                    <a:cubicBezTo>
                      <a:pt x="240" y="12"/>
                      <a:pt x="240" y="12"/>
                      <a:pt x="240" y="13"/>
                    </a:cubicBezTo>
                    <a:cubicBezTo>
                      <a:pt x="240" y="13"/>
                      <a:pt x="240" y="13"/>
                      <a:pt x="239" y="14"/>
                    </a:cubicBezTo>
                    <a:cubicBezTo>
                      <a:pt x="239" y="14"/>
                      <a:pt x="239" y="14"/>
                      <a:pt x="239" y="15"/>
                    </a:cubicBezTo>
                    <a:cubicBezTo>
                      <a:pt x="239" y="15"/>
                      <a:pt x="238" y="15"/>
                      <a:pt x="238" y="16"/>
                    </a:cubicBezTo>
                    <a:cubicBezTo>
                      <a:pt x="238" y="16"/>
                      <a:pt x="238" y="17"/>
                      <a:pt x="237" y="17"/>
                    </a:cubicBezTo>
                    <a:cubicBezTo>
                      <a:pt x="237" y="17"/>
                      <a:pt x="237" y="17"/>
                      <a:pt x="237" y="18"/>
                    </a:cubicBezTo>
                    <a:cubicBezTo>
                      <a:pt x="236" y="18"/>
                      <a:pt x="236" y="19"/>
                      <a:pt x="235" y="19"/>
                    </a:cubicBezTo>
                    <a:cubicBezTo>
                      <a:pt x="235" y="20"/>
                      <a:pt x="235" y="20"/>
                      <a:pt x="235" y="20"/>
                    </a:cubicBezTo>
                    <a:cubicBezTo>
                      <a:pt x="234" y="21"/>
                      <a:pt x="233" y="21"/>
                      <a:pt x="232" y="22"/>
                    </a:cubicBezTo>
                    <a:cubicBezTo>
                      <a:pt x="232" y="23"/>
                      <a:pt x="232" y="23"/>
                      <a:pt x="231" y="23"/>
                    </a:cubicBezTo>
                    <a:cubicBezTo>
                      <a:pt x="231" y="24"/>
                      <a:pt x="231" y="24"/>
                      <a:pt x="230" y="24"/>
                    </a:cubicBezTo>
                    <a:cubicBezTo>
                      <a:pt x="230" y="24"/>
                      <a:pt x="229" y="25"/>
                      <a:pt x="229" y="25"/>
                    </a:cubicBezTo>
                    <a:cubicBezTo>
                      <a:pt x="228" y="26"/>
                      <a:pt x="228" y="26"/>
                      <a:pt x="228" y="26"/>
                    </a:cubicBezTo>
                    <a:cubicBezTo>
                      <a:pt x="227" y="26"/>
                      <a:pt x="226" y="27"/>
                      <a:pt x="226" y="28"/>
                    </a:cubicBezTo>
                    <a:cubicBezTo>
                      <a:pt x="225" y="28"/>
                      <a:pt x="225" y="28"/>
                      <a:pt x="225" y="28"/>
                    </a:cubicBezTo>
                    <a:cubicBezTo>
                      <a:pt x="224" y="28"/>
                      <a:pt x="224" y="29"/>
                      <a:pt x="223" y="29"/>
                    </a:cubicBezTo>
                    <a:cubicBezTo>
                      <a:pt x="222" y="30"/>
                      <a:pt x="221" y="30"/>
                      <a:pt x="220" y="31"/>
                    </a:cubicBezTo>
                    <a:cubicBezTo>
                      <a:pt x="219" y="31"/>
                      <a:pt x="218" y="32"/>
                      <a:pt x="217" y="32"/>
                    </a:cubicBezTo>
                    <a:cubicBezTo>
                      <a:pt x="217" y="32"/>
                      <a:pt x="216" y="33"/>
                      <a:pt x="216" y="33"/>
                    </a:cubicBezTo>
                    <a:cubicBezTo>
                      <a:pt x="215" y="33"/>
                      <a:pt x="215" y="33"/>
                      <a:pt x="214" y="34"/>
                    </a:cubicBezTo>
                    <a:cubicBezTo>
                      <a:pt x="214" y="34"/>
                      <a:pt x="213" y="34"/>
                      <a:pt x="213" y="34"/>
                    </a:cubicBezTo>
                    <a:cubicBezTo>
                      <a:pt x="212" y="35"/>
                      <a:pt x="211" y="35"/>
                      <a:pt x="210" y="35"/>
                    </a:cubicBezTo>
                    <a:cubicBezTo>
                      <a:pt x="210" y="35"/>
                      <a:pt x="210" y="35"/>
                      <a:pt x="209" y="36"/>
                    </a:cubicBezTo>
                    <a:cubicBezTo>
                      <a:pt x="208" y="36"/>
                      <a:pt x="207" y="36"/>
                      <a:pt x="206" y="37"/>
                    </a:cubicBezTo>
                    <a:cubicBezTo>
                      <a:pt x="206" y="37"/>
                      <a:pt x="206" y="37"/>
                      <a:pt x="205" y="37"/>
                    </a:cubicBezTo>
                    <a:cubicBezTo>
                      <a:pt x="205" y="37"/>
                      <a:pt x="204" y="37"/>
                      <a:pt x="203" y="38"/>
                    </a:cubicBezTo>
                    <a:cubicBezTo>
                      <a:pt x="203" y="38"/>
                      <a:pt x="202" y="38"/>
                      <a:pt x="202" y="38"/>
                    </a:cubicBezTo>
                    <a:cubicBezTo>
                      <a:pt x="201" y="38"/>
                      <a:pt x="200" y="38"/>
                      <a:pt x="200" y="39"/>
                    </a:cubicBezTo>
                    <a:cubicBezTo>
                      <a:pt x="199" y="39"/>
                      <a:pt x="199" y="39"/>
                      <a:pt x="198" y="39"/>
                    </a:cubicBezTo>
                    <a:cubicBezTo>
                      <a:pt x="198" y="39"/>
                      <a:pt x="197" y="39"/>
                      <a:pt x="196" y="39"/>
                    </a:cubicBezTo>
                    <a:cubicBezTo>
                      <a:pt x="196" y="39"/>
                      <a:pt x="195" y="40"/>
                      <a:pt x="195" y="40"/>
                    </a:cubicBezTo>
                    <a:cubicBezTo>
                      <a:pt x="194" y="40"/>
                      <a:pt x="194" y="40"/>
                      <a:pt x="193" y="40"/>
                    </a:cubicBezTo>
                    <a:cubicBezTo>
                      <a:pt x="193" y="40"/>
                      <a:pt x="192" y="40"/>
                      <a:pt x="192" y="40"/>
                    </a:cubicBezTo>
                    <a:cubicBezTo>
                      <a:pt x="191" y="40"/>
                      <a:pt x="189" y="41"/>
                      <a:pt x="188" y="41"/>
                    </a:cubicBezTo>
                    <a:cubicBezTo>
                      <a:pt x="188" y="41"/>
                      <a:pt x="188" y="41"/>
                      <a:pt x="188" y="41"/>
                    </a:cubicBezTo>
                    <a:cubicBezTo>
                      <a:pt x="186" y="41"/>
                      <a:pt x="185" y="41"/>
                      <a:pt x="183" y="41"/>
                    </a:cubicBezTo>
                    <a:cubicBezTo>
                      <a:pt x="183" y="41"/>
                      <a:pt x="183" y="41"/>
                      <a:pt x="182" y="41"/>
                    </a:cubicBezTo>
                    <a:cubicBezTo>
                      <a:pt x="181" y="42"/>
                      <a:pt x="180" y="42"/>
                      <a:pt x="180" y="42"/>
                    </a:cubicBezTo>
                    <a:cubicBezTo>
                      <a:pt x="179" y="42"/>
                      <a:pt x="179" y="42"/>
                      <a:pt x="178" y="42"/>
                    </a:cubicBezTo>
                    <a:cubicBezTo>
                      <a:pt x="177" y="42"/>
                      <a:pt x="176" y="42"/>
                      <a:pt x="175" y="42"/>
                    </a:cubicBezTo>
                    <a:cubicBezTo>
                      <a:pt x="175" y="42"/>
                      <a:pt x="175" y="42"/>
                      <a:pt x="174" y="42"/>
                    </a:cubicBezTo>
                    <a:cubicBezTo>
                      <a:pt x="173" y="42"/>
                      <a:pt x="172" y="42"/>
                      <a:pt x="171" y="42"/>
                    </a:cubicBezTo>
                    <a:cubicBezTo>
                      <a:pt x="171" y="42"/>
                      <a:pt x="171" y="42"/>
                      <a:pt x="171" y="42"/>
                    </a:cubicBezTo>
                    <a:cubicBezTo>
                      <a:pt x="170" y="42"/>
                      <a:pt x="169" y="42"/>
                      <a:pt x="167" y="42"/>
                    </a:cubicBezTo>
                    <a:cubicBezTo>
                      <a:pt x="167" y="42"/>
                      <a:pt x="166" y="42"/>
                      <a:pt x="166" y="42"/>
                    </a:cubicBezTo>
                    <a:cubicBezTo>
                      <a:pt x="165" y="42"/>
                      <a:pt x="165" y="42"/>
                      <a:pt x="164" y="42"/>
                    </a:cubicBezTo>
                    <a:cubicBezTo>
                      <a:pt x="163" y="42"/>
                      <a:pt x="163" y="42"/>
                      <a:pt x="162" y="42"/>
                    </a:cubicBezTo>
                    <a:cubicBezTo>
                      <a:pt x="162" y="42"/>
                      <a:pt x="161" y="42"/>
                      <a:pt x="160" y="42"/>
                    </a:cubicBezTo>
                    <a:cubicBezTo>
                      <a:pt x="160" y="42"/>
                      <a:pt x="159" y="42"/>
                      <a:pt x="159" y="42"/>
                    </a:cubicBezTo>
                    <a:cubicBezTo>
                      <a:pt x="158" y="41"/>
                      <a:pt x="158" y="41"/>
                      <a:pt x="157" y="41"/>
                    </a:cubicBezTo>
                    <a:cubicBezTo>
                      <a:pt x="156" y="41"/>
                      <a:pt x="156" y="41"/>
                      <a:pt x="155" y="41"/>
                    </a:cubicBezTo>
                    <a:cubicBezTo>
                      <a:pt x="155" y="41"/>
                      <a:pt x="154" y="41"/>
                      <a:pt x="153" y="41"/>
                    </a:cubicBezTo>
                    <a:cubicBezTo>
                      <a:pt x="153" y="41"/>
                      <a:pt x="152" y="41"/>
                      <a:pt x="152" y="41"/>
                    </a:cubicBezTo>
                    <a:cubicBezTo>
                      <a:pt x="151" y="41"/>
                      <a:pt x="151" y="40"/>
                      <a:pt x="150" y="40"/>
                    </a:cubicBezTo>
                    <a:cubicBezTo>
                      <a:pt x="149" y="40"/>
                      <a:pt x="149" y="40"/>
                      <a:pt x="148" y="40"/>
                    </a:cubicBezTo>
                    <a:cubicBezTo>
                      <a:pt x="148" y="40"/>
                      <a:pt x="147" y="40"/>
                      <a:pt x="146" y="40"/>
                    </a:cubicBezTo>
                    <a:cubicBezTo>
                      <a:pt x="146" y="40"/>
                      <a:pt x="146" y="40"/>
                      <a:pt x="145" y="39"/>
                    </a:cubicBezTo>
                    <a:cubicBezTo>
                      <a:pt x="144" y="39"/>
                      <a:pt x="143" y="39"/>
                      <a:pt x="142" y="39"/>
                    </a:cubicBezTo>
                    <a:cubicBezTo>
                      <a:pt x="141" y="39"/>
                      <a:pt x="141" y="39"/>
                      <a:pt x="141" y="39"/>
                    </a:cubicBezTo>
                    <a:cubicBezTo>
                      <a:pt x="140" y="38"/>
                      <a:pt x="139" y="38"/>
                      <a:pt x="138" y="38"/>
                    </a:cubicBezTo>
                    <a:cubicBezTo>
                      <a:pt x="138" y="38"/>
                      <a:pt x="137" y="38"/>
                      <a:pt x="137" y="37"/>
                    </a:cubicBezTo>
                    <a:cubicBezTo>
                      <a:pt x="136" y="37"/>
                      <a:pt x="135" y="37"/>
                      <a:pt x="134" y="36"/>
                    </a:cubicBezTo>
                    <a:cubicBezTo>
                      <a:pt x="134" y="36"/>
                      <a:pt x="133" y="36"/>
                      <a:pt x="133" y="36"/>
                    </a:cubicBezTo>
                    <a:cubicBezTo>
                      <a:pt x="132" y="36"/>
                      <a:pt x="130" y="35"/>
                      <a:pt x="129" y="35"/>
                    </a:cubicBezTo>
                    <a:cubicBezTo>
                      <a:pt x="129" y="35"/>
                      <a:pt x="129" y="35"/>
                      <a:pt x="128" y="34"/>
                    </a:cubicBezTo>
                    <a:cubicBezTo>
                      <a:pt x="127" y="34"/>
                      <a:pt x="126" y="34"/>
                      <a:pt x="126" y="33"/>
                    </a:cubicBezTo>
                    <a:cubicBezTo>
                      <a:pt x="125" y="33"/>
                      <a:pt x="125" y="33"/>
                      <a:pt x="125" y="33"/>
                    </a:cubicBezTo>
                    <a:cubicBezTo>
                      <a:pt x="123" y="32"/>
                      <a:pt x="122" y="32"/>
                      <a:pt x="121" y="31"/>
                    </a:cubicBezTo>
                    <a:cubicBezTo>
                      <a:pt x="120" y="31"/>
                      <a:pt x="119" y="30"/>
                      <a:pt x="118" y="30"/>
                    </a:cubicBezTo>
                    <a:cubicBezTo>
                      <a:pt x="111" y="25"/>
                      <a:pt x="105" y="20"/>
                      <a:pt x="102" y="15"/>
                    </a:cubicBezTo>
                    <a:cubicBezTo>
                      <a:pt x="101" y="14"/>
                      <a:pt x="100" y="12"/>
                      <a:pt x="98" y="12"/>
                    </a:cubicBezTo>
                    <a:cubicBezTo>
                      <a:pt x="98" y="11"/>
                      <a:pt x="97" y="11"/>
                      <a:pt x="97" y="11"/>
                    </a:cubicBezTo>
                    <a:cubicBezTo>
                      <a:pt x="97" y="11"/>
                      <a:pt x="97" y="11"/>
                      <a:pt x="97" y="11"/>
                    </a:cubicBezTo>
                    <a:cubicBezTo>
                      <a:pt x="96" y="11"/>
                      <a:pt x="96" y="11"/>
                      <a:pt x="96" y="11"/>
                    </a:cubicBezTo>
                    <a:cubicBezTo>
                      <a:pt x="96" y="11"/>
                      <a:pt x="96" y="11"/>
                      <a:pt x="96" y="11"/>
                    </a:cubicBezTo>
                    <a:cubicBezTo>
                      <a:pt x="95" y="10"/>
                      <a:pt x="95" y="10"/>
                      <a:pt x="94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3" y="10"/>
                      <a:pt x="93" y="10"/>
                      <a:pt x="92" y="10"/>
                    </a:cubicBezTo>
                    <a:cubicBezTo>
                      <a:pt x="92" y="10"/>
                      <a:pt x="92" y="10"/>
                      <a:pt x="92" y="10"/>
                    </a:cubicBezTo>
                    <a:cubicBezTo>
                      <a:pt x="92" y="9"/>
                      <a:pt x="92" y="9"/>
                      <a:pt x="91" y="9"/>
                    </a:cubicBezTo>
                    <a:cubicBezTo>
                      <a:pt x="91" y="9"/>
                      <a:pt x="91" y="9"/>
                      <a:pt x="91" y="9"/>
                    </a:cubicBezTo>
                    <a:cubicBezTo>
                      <a:pt x="91" y="9"/>
                      <a:pt x="91" y="9"/>
                      <a:pt x="91" y="9"/>
                    </a:cubicBezTo>
                    <a:cubicBezTo>
                      <a:pt x="90" y="9"/>
                      <a:pt x="90" y="9"/>
                      <a:pt x="90" y="9"/>
                    </a:cubicBezTo>
                    <a:cubicBezTo>
                      <a:pt x="90" y="9"/>
                      <a:pt x="90" y="9"/>
                      <a:pt x="89" y="9"/>
                    </a:cubicBezTo>
                    <a:cubicBezTo>
                      <a:pt x="89" y="9"/>
                      <a:pt x="89" y="9"/>
                      <a:pt x="89" y="9"/>
                    </a:cubicBezTo>
                    <a:cubicBezTo>
                      <a:pt x="89" y="9"/>
                      <a:pt x="89" y="9"/>
                      <a:pt x="88" y="9"/>
                    </a:cubicBezTo>
                    <a:cubicBezTo>
                      <a:pt x="88" y="9"/>
                      <a:pt x="88" y="9"/>
                      <a:pt x="88" y="9"/>
                    </a:cubicBezTo>
                    <a:cubicBezTo>
                      <a:pt x="88" y="9"/>
                      <a:pt x="88" y="9"/>
                      <a:pt x="88" y="9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9"/>
                      <a:pt x="86" y="9"/>
                      <a:pt x="86" y="9"/>
                    </a:cubicBezTo>
                    <a:cubicBezTo>
                      <a:pt x="86" y="9"/>
                      <a:pt x="86" y="9"/>
                      <a:pt x="86" y="9"/>
                    </a:cubicBezTo>
                    <a:cubicBezTo>
                      <a:pt x="86" y="9"/>
                      <a:pt x="85" y="9"/>
                      <a:pt x="85" y="9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3" y="9"/>
                      <a:pt x="83" y="9"/>
                    </a:cubicBezTo>
                    <a:cubicBezTo>
                      <a:pt x="83" y="9"/>
                      <a:pt x="83" y="9"/>
                      <a:pt x="83" y="9"/>
                    </a:cubicBezTo>
                    <a:cubicBezTo>
                      <a:pt x="82" y="9"/>
                      <a:pt x="82" y="10"/>
                      <a:pt x="82" y="10"/>
                    </a:cubicBezTo>
                    <a:cubicBezTo>
                      <a:pt x="82" y="10"/>
                      <a:pt x="82" y="10"/>
                      <a:pt x="81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79" y="10"/>
                      <a:pt x="79" y="10"/>
                    </a:cubicBezTo>
                    <a:cubicBezTo>
                      <a:pt x="79" y="10"/>
                      <a:pt x="79" y="11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77" y="11"/>
                      <a:pt x="77" y="11"/>
                      <a:pt x="76" y="12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7" y="58"/>
                      <a:pt x="77" y="58"/>
                      <a:pt x="78" y="58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78" y="57"/>
                      <a:pt x="79" y="57"/>
                      <a:pt x="79" y="57"/>
                    </a:cubicBezTo>
                    <a:cubicBezTo>
                      <a:pt x="79" y="57"/>
                      <a:pt x="80" y="57"/>
                      <a:pt x="80" y="57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81" y="57"/>
                      <a:pt x="81" y="57"/>
                      <a:pt x="81" y="57"/>
                    </a:cubicBezTo>
                    <a:cubicBezTo>
                      <a:pt x="81" y="57"/>
                      <a:pt x="82" y="56"/>
                      <a:pt x="82" y="56"/>
                    </a:cubicBezTo>
                    <a:cubicBezTo>
                      <a:pt x="82" y="56"/>
                      <a:pt x="82" y="56"/>
                      <a:pt x="83" y="56"/>
                    </a:cubicBezTo>
                    <a:cubicBezTo>
                      <a:pt x="83" y="56"/>
                      <a:pt x="84" y="56"/>
                      <a:pt x="84" y="56"/>
                    </a:cubicBezTo>
                    <a:cubicBezTo>
                      <a:pt x="84" y="56"/>
                      <a:pt x="85" y="56"/>
                      <a:pt x="85" y="56"/>
                    </a:cubicBezTo>
                    <a:cubicBezTo>
                      <a:pt x="85" y="56"/>
                      <a:pt x="86" y="56"/>
                      <a:pt x="86" y="56"/>
                    </a:cubicBezTo>
                    <a:cubicBezTo>
                      <a:pt x="86" y="56"/>
                      <a:pt x="86" y="56"/>
                      <a:pt x="87" y="56"/>
                    </a:cubicBezTo>
                    <a:cubicBezTo>
                      <a:pt x="87" y="56"/>
                      <a:pt x="87" y="56"/>
                      <a:pt x="87" y="56"/>
                    </a:cubicBezTo>
                    <a:cubicBezTo>
                      <a:pt x="88" y="56"/>
                      <a:pt x="88" y="56"/>
                      <a:pt x="88" y="56"/>
                    </a:cubicBezTo>
                    <a:cubicBezTo>
                      <a:pt x="88" y="56"/>
                      <a:pt x="89" y="56"/>
                      <a:pt x="89" y="56"/>
                    </a:cubicBezTo>
                    <a:cubicBezTo>
                      <a:pt x="89" y="56"/>
                      <a:pt x="89" y="56"/>
                      <a:pt x="90" y="56"/>
                    </a:cubicBezTo>
                    <a:cubicBezTo>
                      <a:pt x="90" y="56"/>
                      <a:pt x="90" y="56"/>
                      <a:pt x="91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2" y="56"/>
                      <a:pt x="92" y="56"/>
                    </a:cubicBezTo>
                    <a:cubicBezTo>
                      <a:pt x="92" y="56"/>
                      <a:pt x="92" y="56"/>
                      <a:pt x="93" y="56"/>
                    </a:cubicBezTo>
                    <a:cubicBezTo>
                      <a:pt x="93" y="57"/>
                      <a:pt x="93" y="57"/>
                      <a:pt x="94" y="57"/>
                    </a:cubicBezTo>
                    <a:cubicBezTo>
                      <a:pt x="94" y="57"/>
                      <a:pt x="94" y="57"/>
                      <a:pt x="94" y="57"/>
                    </a:cubicBezTo>
                    <a:cubicBezTo>
                      <a:pt x="95" y="57"/>
                      <a:pt x="95" y="57"/>
                      <a:pt x="96" y="57"/>
                    </a:cubicBezTo>
                    <a:cubicBezTo>
                      <a:pt x="96" y="58"/>
                      <a:pt x="96" y="58"/>
                      <a:pt x="97" y="58"/>
                    </a:cubicBezTo>
                    <a:cubicBezTo>
                      <a:pt x="97" y="58"/>
                      <a:pt x="97" y="58"/>
                      <a:pt x="97" y="58"/>
                    </a:cubicBezTo>
                    <a:cubicBezTo>
                      <a:pt x="97" y="58"/>
                      <a:pt x="98" y="58"/>
                      <a:pt x="98" y="58"/>
                    </a:cubicBezTo>
                    <a:cubicBezTo>
                      <a:pt x="99" y="59"/>
                      <a:pt x="101" y="60"/>
                      <a:pt x="102" y="62"/>
                    </a:cubicBezTo>
                    <a:cubicBezTo>
                      <a:pt x="105" y="67"/>
                      <a:pt x="111" y="72"/>
                      <a:pt x="118" y="76"/>
                    </a:cubicBezTo>
                    <a:cubicBezTo>
                      <a:pt x="119" y="77"/>
                      <a:pt x="120" y="78"/>
                      <a:pt x="121" y="78"/>
                    </a:cubicBezTo>
                    <a:cubicBezTo>
                      <a:pt x="122" y="79"/>
                      <a:pt x="123" y="79"/>
                      <a:pt x="124" y="80"/>
                    </a:cubicBezTo>
                    <a:cubicBezTo>
                      <a:pt x="125" y="80"/>
                      <a:pt x="125" y="80"/>
                      <a:pt x="125" y="80"/>
                    </a:cubicBezTo>
                    <a:cubicBezTo>
                      <a:pt x="126" y="81"/>
                      <a:pt x="127" y="81"/>
                      <a:pt x="128" y="81"/>
                    </a:cubicBezTo>
                    <a:cubicBezTo>
                      <a:pt x="128" y="81"/>
                      <a:pt x="129" y="81"/>
                      <a:pt x="129" y="82"/>
                    </a:cubicBezTo>
                    <a:cubicBezTo>
                      <a:pt x="129" y="82"/>
                      <a:pt x="129" y="82"/>
                      <a:pt x="129" y="82"/>
                    </a:cubicBezTo>
                    <a:cubicBezTo>
                      <a:pt x="130" y="82"/>
                      <a:pt x="132" y="83"/>
                      <a:pt x="133" y="83"/>
                    </a:cubicBezTo>
                    <a:cubicBezTo>
                      <a:pt x="133" y="83"/>
                      <a:pt x="133" y="83"/>
                      <a:pt x="134" y="83"/>
                    </a:cubicBezTo>
                    <a:cubicBezTo>
                      <a:pt x="135" y="84"/>
                      <a:pt x="136" y="84"/>
                      <a:pt x="137" y="84"/>
                    </a:cubicBezTo>
                    <a:cubicBezTo>
                      <a:pt x="137" y="84"/>
                      <a:pt x="137" y="84"/>
                      <a:pt x="138" y="85"/>
                    </a:cubicBezTo>
                    <a:cubicBezTo>
                      <a:pt x="138" y="85"/>
                      <a:pt x="138" y="85"/>
                      <a:pt x="138" y="85"/>
                    </a:cubicBezTo>
                    <a:cubicBezTo>
                      <a:pt x="139" y="85"/>
                      <a:pt x="140" y="85"/>
                      <a:pt x="141" y="85"/>
                    </a:cubicBezTo>
                    <a:cubicBezTo>
                      <a:pt x="141" y="85"/>
                      <a:pt x="141" y="86"/>
                      <a:pt x="141" y="86"/>
                    </a:cubicBezTo>
                    <a:cubicBezTo>
                      <a:pt x="143" y="86"/>
                      <a:pt x="144" y="86"/>
                      <a:pt x="145" y="86"/>
                    </a:cubicBezTo>
                    <a:cubicBezTo>
                      <a:pt x="145" y="86"/>
                      <a:pt x="145" y="86"/>
                      <a:pt x="145" y="86"/>
                    </a:cubicBezTo>
                    <a:cubicBezTo>
                      <a:pt x="146" y="86"/>
                      <a:pt x="146" y="87"/>
                      <a:pt x="146" y="87"/>
                    </a:cubicBezTo>
                    <a:cubicBezTo>
                      <a:pt x="147" y="87"/>
                      <a:pt x="148" y="87"/>
                      <a:pt x="148" y="87"/>
                    </a:cubicBezTo>
                    <a:cubicBezTo>
                      <a:pt x="149" y="87"/>
                      <a:pt x="149" y="87"/>
                      <a:pt x="150" y="87"/>
                    </a:cubicBezTo>
                    <a:cubicBezTo>
                      <a:pt x="150" y="87"/>
                      <a:pt x="151" y="87"/>
                      <a:pt x="152" y="88"/>
                    </a:cubicBezTo>
                    <a:cubicBezTo>
                      <a:pt x="152" y="88"/>
                      <a:pt x="152" y="88"/>
                      <a:pt x="153" y="88"/>
                    </a:cubicBezTo>
                    <a:cubicBezTo>
                      <a:pt x="153" y="88"/>
                      <a:pt x="153" y="88"/>
                      <a:pt x="153" y="88"/>
                    </a:cubicBezTo>
                    <a:cubicBezTo>
                      <a:pt x="154" y="88"/>
                      <a:pt x="155" y="88"/>
                      <a:pt x="155" y="88"/>
                    </a:cubicBezTo>
                    <a:cubicBezTo>
                      <a:pt x="156" y="88"/>
                      <a:pt x="156" y="88"/>
                      <a:pt x="157" y="88"/>
                    </a:cubicBezTo>
                    <a:cubicBezTo>
                      <a:pt x="157" y="88"/>
                      <a:pt x="158" y="88"/>
                      <a:pt x="159" y="88"/>
                    </a:cubicBezTo>
                    <a:cubicBezTo>
                      <a:pt x="159" y="88"/>
                      <a:pt x="159" y="88"/>
                      <a:pt x="160" y="88"/>
                    </a:cubicBezTo>
                    <a:cubicBezTo>
                      <a:pt x="160" y="88"/>
                      <a:pt x="160" y="88"/>
                      <a:pt x="160" y="88"/>
                    </a:cubicBezTo>
                    <a:cubicBezTo>
                      <a:pt x="161" y="89"/>
                      <a:pt x="162" y="89"/>
                      <a:pt x="162" y="89"/>
                    </a:cubicBezTo>
                    <a:cubicBezTo>
                      <a:pt x="163" y="89"/>
                      <a:pt x="163" y="89"/>
                      <a:pt x="164" y="89"/>
                    </a:cubicBezTo>
                    <a:cubicBezTo>
                      <a:pt x="164" y="89"/>
                      <a:pt x="165" y="89"/>
                      <a:pt x="166" y="89"/>
                    </a:cubicBezTo>
                    <a:cubicBezTo>
                      <a:pt x="166" y="89"/>
                      <a:pt x="167" y="89"/>
                      <a:pt x="167" y="89"/>
                    </a:cubicBezTo>
                    <a:cubicBezTo>
                      <a:pt x="167" y="89"/>
                      <a:pt x="167" y="89"/>
                      <a:pt x="167" y="89"/>
                    </a:cubicBezTo>
                    <a:cubicBezTo>
                      <a:pt x="168" y="89"/>
                      <a:pt x="170" y="89"/>
                      <a:pt x="171" y="89"/>
                    </a:cubicBezTo>
                    <a:cubicBezTo>
                      <a:pt x="171" y="89"/>
                      <a:pt x="171" y="89"/>
                      <a:pt x="171" y="89"/>
                    </a:cubicBezTo>
                    <a:cubicBezTo>
                      <a:pt x="172" y="89"/>
                      <a:pt x="173" y="89"/>
                      <a:pt x="174" y="89"/>
                    </a:cubicBezTo>
                    <a:cubicBezTo>
                      <a:pt x="174" y="89"/>
                      <a:pt x="175" y="89"/>
                      <a:pt x="175" y="89"/>
                    </a:cubicBezTo>
                    <a:cubicBezTo>
                      <a:pt x="175" y="89"/>
                      <a:pt x="175" y="89"/>
                      <a:pt x="175" y="89"/>
                    </a:cubicBezTo>
                    <a:cubicBezTo>
                      <a:pt x="176" y="89"/>
                      <a:pt x="177" y="89"/>
                      <a:pt x="178" y="89"/>
                    </a:cubicBezTo>
                    <a:cubicBezTo>
                      <a:pt x="179" y="89"/>
                      <a:pt x="179" y="89"/>
                      <a:pt x="179" y="89"/>
                    </a:cubicBezTo>
                    <a:cubicBezTo>
                      <a:pt x="180" y="88"/>
                      <a:pt x="181" y="88"/>
                      <a:pt x="182" y="88"/>
                    </a:cubicBezTo>
                    <a:cubicBezTo>
                      <a:pt x="182" y="88"/>
                      <a:pt x="183" y="88"/>
                      <a:pt x="183" y="88"/>
                    </a:cubicBezTo>
                    <a:cubicBezTo>
                      <a:pt x="183" y="88"/>
                      <a:pt x="183" y="88"/>
                      <a:pt x="183" y="88"/>
                    </a:cubicBezTo>
                    <a:cubicBezTo>
                      <a:pt x="185" y="88"/>
                      <a:pt x="186" y="88"/>
                      <a:pt x="187" y="88"/>
                    </a:cubicBezTo>
                    <a:cubicBezTo>
                      <a:pt x="188" y="88"/>
                      <a:pt x="188" y="88"/>
                      <a:pt x="188" y="88"/>
                    </a:cubicBezTo>
                    <a:cubicBezTo>
                      <a:pt x="189" y="87"/>
                      <a:pt x="190" y="87"/>
                      <a:pt x="192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87"/>
                      <a:pt x="193" y="87"/>
                      <a:pt x="193" y="87"/>
                    </a:cubicBezTo>
                    <a:cubicBezTo>
                      <a:pt x="194" y="87"/>
                      <a:pt x="194" y="87"/>
                      <a:pt x="195" y="86"/>
                    </a:cubicBezTo>
                    <a:cubicBezTo>
                      <a:pt x="195" y="86"/>
                      <a:pt x="196" y="86"/>
                      <a:pt x="196" y="86"/>
                    </a:cubicBezTo>
                    <a:cubicBezTo>
                      <a:pt x="197" y="86"/>
                      <a:pt x="198" y="86"/>
                      <a:pt x="198" y="86"/>
                    </a:cubicBezTo>
                    <a:cubicBezTo>
                      <a:pt x="199" y="86"/>
                      <a:pt x="199" y="85"/>
                      <a:pt x="200" y="85"/>
                    </a:cubicBezTo>
                    <a:cubicBezTo>
                      <a:pt x="200" y="85"/>
                      <a:pt x="201" y="85"/>
                      <a:pt x="202" y="85"/>
                    </a:cubicBezTo>
                    <a:cubicBezTo>
                      <a:pt x="202" y="85"/>
                      <a:pt x="202" y="85"/>
                      <a:pt x="203" y="85"/>
                    </a:cubicBezTo>
                    <a:cubicBezTo>
                      <a:pt x="204" y="84"/>
                      <a:pt x="204" y="84"/>
                      <a:pt x="205" y="84"/>
                    </a:cubicBezTo>
                    <a:cubicBezTo>
                      <a:pt x="206" y="84"/>
                      <a:pt x="206" y="84"/>
                      <a:pt x="206" y="84"/>
                    </a:cubicBezTo>
                    <a:cubicBezTo>
                      <a:pt x="206" y="84"/>
                      <a:pt x="206" y="84"/>
                      <a:pt x="206" y="84"/>
                    </a:cubicBezTo>
                    <a:cubicBezTo>
                      <a:pt x="207" y="83"/>
                      <a:pt x="208" y="83"/>
                      <a:pt x="209" y="82"/>
                    </a:cubicBezTo>
                    <a:cubicBezTo>
                      <a:pt x="210" y="82"/>
                      <a:pt x="210" y="82"/>
                      <a:pt x="210" y="82"/>
                    </a:cubicBezTo>
                    <a:cubicBezTo>
                      <a:pt x="211" y="82"/>
                      <a:pt x="212" y="81"/>
                      <a:pt x="213" y="81"/>
                    </a:cubicBezTo>
                    <a:cubicBezTo>
                      <a:pt x="213" y="81"/>
                      <a:pt x="213" y="81"/>
                      <a:pt x="214" y="81"/>
                    </a:cubicBezTo>
                    <a:cubicBezTo>
                      <a:pt x="215" y="80"/>
                      <a:pt x="215" y="80"/>
                      <a:pt x="216" y="80"/>
                    </a:cubicBezTo>
                    <a:cubicBezTo>
                      <a:pt x="216" y="79"/>
                      <a:pt x="217" y="79"/>
                      <a:pt x="217" y="79"/>
                    </a:cubicBezTo>
                    <a:cubicBezTo>
                      <a:pt x="218" y="79"/>
                      <a:pt x="219" y="78"/>
                      <a:pt x="220" y="78"/>
                    </a:cubicBezTo>
                    <a:cubicBezTo>
                      <a:pt x="221" y="77"/>
                      <a:pt x="222" y="77"/>
                      <a:pt x="223" y="76"/>
                    </a:cubicBezTo>
                    <a:cubicBezTo>
                      <a:pt x="223" y="76"/>
                      <a:pt x="223" y="76"/>
                      <a:pt x="223" y="76"/>
                    </a:cubicBezTo>
                    <a:cubicBezTo>
                      <a:pt x="224" y="76"/>
                      <a:pt x="224" y="75"/>
                      <a:pt x="225" y="75"/>
                    </a:cubicBezTo>
                    <a:cubicBezTo>
                      <a:pt x="225" y="75"/>
                      <a:pt x="225" y="75"/>
                      <a:pt x="225" y="74"/>
                    </a:cubicBezTo>
                    <a:cubicBezTo>
                      <a:pt x="226" y="74"/>
                      <a:pt x="227" y="73"/>
                      <a:pt x="228" y="73"/>
                    </a:cubicBezTo>
                    <a:cubicBezTo>
                      <a:pt x="228" y="72"/>
                      <a:pt x="228" y="72"/>
                      <a:pt x="229" y="72"/>
                    </a:cubicBezTo>
                    <a:cubicBezTo>
                      <a:pt x="229" y="72"/>
                      <a:pt x="230" y="71"/>
                      <a:pt x="230" y="71"/>
                    </a:cubicBezTo>
                    <a:cubicBezTo>
                      <a:pt x="230" y="71"/>
                      <a:pt x="231" y="70"/>
                      <a:pt x="231" y="70"/>
                    </a:cubicBezTo>
                    <a:cubicBezTo>
                      <a:pt x="231" y="70"/>
                      <a:pt x="232" y="69"/>
                      <a:pt x="232" y="69"/>
                    </a:cubicBezTo>
                    <a:cubicBezTo>
                      <a:pt x="232" y="69"/>
                      <a:pt x="232" y="69"/>
                      <a:pt x="232" y="69"/>
                    </a:cubicBezTo>
                    <a:cubicBezTo>
                      <a:pt x="233" y="68"/>
                      <a:pt x="234" y="68"/>
                      <a:pt x="234" y="67"/>
                    </a:cubicBezTo>
                    <a:cubicBezTo>
                      <a:pt x="235" y="67"/>
                      <a:pt x="235" y="66"/>
                      <a:pt x="235" y="66"/>
                    </a:cubicBezTo>
                    <a:cubicBezTo>
                      <a:pt x="236" y="66"/>
                      <a:pt x="236" y="65"/>
                      <a:pt x="236" y="65"/>
                    </a:cubicBezTo>
                    <a:cubicBezTo>
                      <a:pt x="237" y="64"/>
                      <a:pt x="237" y="64"/>
                      <a:pt x="237" y="64"/>
                    </a:cubicBezTo>
                    <a:cubicBezTo>
                      <a:pt x="237" y="64"/>
                      <a:pt x="237" y="64"/>
                      <a:pt x="237" y="64"/>
                    </a:cubicBezTo>
                    <a:cubicBezTo>
                      <a:pt x="237" y="63"/>
                      <a:pt x="238" y="63"/>
                      <a:pt x="238" y="63"/>
                    </a:cubicBezTo>
                    <a:cubicBezTo>
                      <a:pt x="238" y="62"/>
                      <a:pt x="238" y="62"/>
                      <a:pt x="239" y="62"/>
                    </a:cubicBezTo>
                    <a:cubicBezTo>
                      <a:pt x="239" y="61"/>
                      <a:pt x="239" y="61"/>
                      <a:pt x="239" y="60"/>
                    </a:cubicBezTo>
                    <a:cubicBezTo>
                      <a:pt x="239" y="60"/>
                      <a:pt x="240" y="60"/>
                      <a:pt x="240" y="60"/>
                    </a:cubicBezTo>
                    <a:cubicBezTo>
                      <a:pt x="240" y="60"/>
                      <a:pt x="240" y="60"/>
                      <a:pt x="240" y="60"/>
                    </a:cubicBezTo>
                    <a:cubicBezTo>
                      <a:pt x="240" y="59"/>
                      <a:pt x="240" y="59"/>
                      <a:pt x="240" y="58"/>
                    </a:cubicBezTo>
                    <a:cubicBezTo>
                      <a:pt x="241" y="58"/>
                      <a:pt x="241" y="58"/>
                      <a:pt x="241" y="57"/>
                    </a:cubicBezTo>
                    <a:cubicBezTo>
                      <a:pt x="241" y="57"/>
                      <a:pt x="241" y="57"/>
                      <a:pt x="241" y="56"/>
                    </a:cubicBezTo>
                    <a:cubicBezTo>
                      <a:pt x="241" y="56"/>
                      <a:pt x="242" y="56"/>
                      <a:pt x="242" y="56"/>
                    </a:cubicBezTo>
                    <a:cubicBezTo>
                      <a:pt x="242" y="56"/>
                      <a:pt x="242" y="55"/>
                      <a:pt x="242" y="55"/>
                    </a:cubicBezTo>
                    <a:cubicBezTo>
                      <a:pt x="242" y="55"/>
                      <a:pt x="242" y="55"/>
                      <a:pt x="242" y="54"/>
                    </a:cubicBezTo>
                    <a:cubicBezTo>
                      <a:pt x="242" y="54"/>
                      <a:pt x="242" y="54"/>
                      <a:pt x="242" y="53"/>
                    </a:cubicBezTo>
                    <a:cubicBezTo>
                      <a:pt x="243" y="53"/>
                      <a:pt x="243" y="53"/>
                      <a:pt x="243" y="52"/>
                    </a:cubicBezTo>
                    <a:cubicBezTo>
                      <a:pt x="243" y="52"/>
                      <a:pt x="243" y="52"/>
                      <a:pt x="243" y="52"/>
                    </a:cubicBezTo>
                    <a:cubicBezTo>
                      <a:pt x="243" y="51"/>
                      <a:pt x="243" y="51"/>
                      <a:pt x="243" y="51"/>
                    </a:cubicBezTo>
                    <a:cubicBezTo>
                      <a:pt x="243" y="51"/>
                      <a:pt x="243" y="51"/>
                      <a:pt x="243" y="50"/>
                    </a:cubicBezTo>
                    <a:cubicBezTo>
                      <a:pt x="243" y="50"/>
                      <a:pt x="243" y="49"/>
                      <a:pt x="243" y="49"/>
                    </a:cubicBezTo>
                    <a:cubicBezTo>
                      <a:pt x="243" y="49"/>
                      <a:pt x="243" y="48"/>
                      <a:pt x="243" y="48"/>
                    </a:cubicBezTo>
                    <a:cubicBezTo>
                      <a:pt x="243" y="48"/>
                      <a:pt x="243" y="48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1"/>
                      <a:pt x="243" y="1"/>
                    </a:cubicBezTo>
                    <a:close/>
                  </a:path>
                </a:pathLst>
              </a:custGeom>
              <a:solidFill>
                <a:srgbClr val="0D4D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1">
                <a:extLst>
                  <a:ext uri="{FF2B5EF4-FFF2-40B4-BE49-F238E27FC236}">
                    <a16:creationId xmlns:a16="http://schemas.microsoft.com/office/drawing/2014/main" id="{C5555BAF-68C7-4DD0-9D91-023729370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4628" y="3250758"/>
                <a:ext cx="2962745" cy="1718058"/>
              </a:xfrm>
              <a:custGeom>
                <a:avLst/>
                <a:gdLst>
                  <a:gd name="T0" fmla="*/ 536 w 536"/>
                  <a:gd name="T1" fmla="*/ 155 h 310"/>
                  <a:gd name="T2" fmla="*/ 460 w 536"/>
                  <a:gd name="T3" fmla="*/ 199 h 310"/>
                  <a:gd name="T4" fmla="*/ 460 w 536"/>
                  <a:gd name="T5" fmla="*/ 212 h 310"/>
                  <a:gd name="T6" fmla="*/ 465 w 536"/>
                  <a:gd name="T7" fmla="*/ 214 h 310"/>
                  <a:gd name="T8" fmla="*/ 491 w 536"/>
                  <a:gd name="T9" fmla="*/ 224 h 310"/>
                  <a:gd name="T10" fmla="*/ 489 w 536"/>
                  <a:gd name="T11" fmla="*/ 285 h 310"/>
                  <a:gd name="T12" fmla="*/ 390 w 536"/>
                  <a:gd name="T13" fmla="*/ 285 h 310"/>
                  <a:gd name="T14" fmla="*/ 387 w 536"/>
                  <a:gd name="T15" fmla="*/ 284 h 310"/>
                  <a:gd name="T16" fmla="*/ 371 w 536"/>
                  <a:gd name="T17" fmla="*/ 269 h 310"/>
                  <a:gd name="T18" fmla="*/ 367 w 536"/>
                  <a:gd name="T19" fmla="*/ 266 h 310"/>
                  <a:gd name="T20" fmla="*/ 345 w 536"/>
                  <a:gd name="T21" fmla="*/ 266 h 310"/>
                  <a:gd name="T22" fmla="*/ 269 w 536"/>
                  <a:gd name="T23" fmla="*/ 310 h 310"/>
                  <a:gd name="T24" fmla="*/ 191 w 536"/>
                  <a:gd name="T25" fmla="*/ 265 h 310"/>
                  <a:gd name="T26" fmla="*/ 197 w 536"/>
                  <a:gd name="T27" fmla="*/ 251 h 310"/>
                  <a:gd name="T28" fmla="*/ 226 w 536"/>
                  <a:gd name="T29" fmla="*/ 240 h 310"/>
                  <a:gd name="T30" fmla="*/ 224 w 536"/>
                  <a:gd name="T31" fmla="*/ 182 h 310"/>
                  <a:gd name="T32" fmla="*/ 222 w 536"/>
                  <a:gd name="T33" fmla="*/ 181 h 310"/>
                  <a:gd name="T34" fmla="*/ 119 w 536"/>
                  <a:gd name="T35" fmla="*/ 181 h 310"/>
                  <a:gd name="T36" fmla="*/ 102 w 536"/>
                  <a:gd name="T37" fmla="*/ 196 h 310"/>
                  <a:gd name="T38" fmla="*/ 78 w 536"/>
                  <a:gd name="T39" fmla="*/ 200 h 310"/>
                  <a:gd name="T40" fmla="*/ 0 w 536"/>
                  <a:gd name="T41" fmla="*/ 155 h 310"/>
                  <a:gd name="T42" fmla="*/ 267 w 536"/>
                  <a:gd name="T43" fmla="*/ 0 h 310"/>
                  <a:gd name="T44" fmla="*/ 536 w 536"/>
                  <a:gd name="T45" fmla="*/ 155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36" h="310">
                    <a:moveTo>
                      <a:pt x="536" y="155"/>
                    </a:moveTo>
                    <a:cubicBezTo>
                      <a:pt x="460" y="199"/>
                      <a:pt x="460" y="199"/>
                      <a:pt x="460" y="199"/>
                    </a:cubicBezTo>
                    <a:cubicBezTo>
                      <a:pt x="453" y="203"/>
                      <a:pt x="454" y="209"/>
                      <a:pt x="460" y="212"/>
                    </a:cubicBezTo>
                    <a:cubicBezTo>
                      <a:pt x="461" y="213"/>
                      <a:pt x="463" y="213"/>
                      <a:pt x="465" y="214"/>
                    </a:cubicBezTo>
                    <a:cubicBezTo>
                      <a:pt x="474" y="216"/>
                      <a:pt x="483" y="219"/>
                      <a:pt x="491" y="224"/>
                    </a:cubicBezTo>
                    <a:cubicBezTo>
                      <a:pt x="520" y="241"/>
                      <a:pt x="520" y="268"/>
                      <a:pt x="489" y="285"/>
                    </a:cubicBezTo>
                    <a:cubicBezTo>
                      <a:pt x="462" y="300"/>
                      <a:pt x="418" y="300"/>
                      <a:pt x="390" y="285"/>
                    </a:cubicBezTo>
                    <a:cubicBezTo>
                      <a:pt x="389" y="285"/>
                      <a:pt x="388" y="284"/>
                      <a:pt x="387" y="284"/>
                    </a:cubicBezTo>
                    <a:cubicBezTo>
                      <a:pt x="380" y="279"/>
                      <a:pt x="374" y="274"/>
                      <a:pt x="371" y="269"/>
                    </a:cubicBezTo>
                    <a:cubicBezTo>
                      <a:pt x="370" y="268"/>
                      <a:pt x="369" y="266"/>
                      <a:pt x="367" y="266"/>
                    </a:cubicBezTo>
                    <a:cubicBezTo>
                      <a:pt x="361" y="262"/>
                      <a:pt x="351" y="262"/>
                      <a:pt x="345" y="266"/>
                    </a:cubicBezTo>
                    <a:cubicBezTo>
                      <a:pt x="269" y="310"/>
                      <a:pt x="269" y="310"/>
                      <a:pt x="269" y="310"/>
                    </a:cubicBezTo>
                    <a:cubicBezTo>
                      <a:pt x="191" y="265"/>
                      <a:pt x="191" y="265"/>
                      <a:pt x="191" y="265"/>
                    </a:cubicBezTo>
                    <a:cubicBezTo>
                      <a:pt x="184" y="261"/>
                      <a:pt x="187" y="253"/>
                      <a:pt x="197" y="251"/>
                    </a:cubicBezTo>
                    <a:cubicBezTo>
                      <a:pt x="208" y="249"/>
                      <a:pt x="217" y="245"/>
                      <a:pt x="226" y="240"/>
                    </a:cubicBezTo>
                    <a:cubicBezTo>
                      <a:pt x="251" y="223"/>
                      <a:pt x="250" y="198"/>
                      <a:pt x="224" y="182"/>
                    </a:cubicBezTo>
                    <a:cubicBezTo>
                      <a:pt x="224" y="182"/>
                      <a:pt x="223" y="182"/>
                      <a:pt x="222" y="181"/>
                    </a:cubicBezTo>
                    <a:cubicBezTo>
                      <a:pt x="194" y="165"/>
                      <a:pt x="147" y="165"/>
                      <a:pt x="119" y="181"/>
                    </a:cubicBezTo>
                    <a:cubicBezTo>
                      <a:pt x="111" y="186"/>
                      <a:pt x="106" y="191"/>
                      <a:pt x="102" y="196"/>
                    </a:cubicBezTo>
                    <a:cubicBezTo>
                      <a:pt x="98" y="202"/>
                      <a:pt x="86" y="204"/>
                      <a:pt x="78" y="200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267" y="0"/>
                      <a:pt x="267" y="0"/>
                      <a:pt x="267" y="0"/>
                    </a:cubicBezTo>
                    <a:lnTo>
                      <a:pt x="536" y="15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">
                <a:extLst>
                  <a:ext uri="{FF2B5EF4-FFF2-40B4-BE49-F238E27FC236}">
                    <a16:creationId xmlns:a16="http://schemas.microsoft.com/office/drawing/2014/main" id="{4B933BD8-4FE6-48F6-99DD-C109D92B8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748" y="3314118"/>
                <a:ext cx="2843010" cy="1651229"/>
              </a:xfrm>
              <a:custGeom>
                <a:avLst/>
                <a:gdLst>
                  <a:gd name="T0" fmla="*/ 183 w 514"/>
                  <a:gd name="T1" fmla="*/ 255 h 298"/>
                  <a:gd name="T2" fmla="*/ 182 w 514"/>
                  <a:gd name="T3" fmla="*/ 253 h 298"/>
                  <a:gd name="T4" fmla="*/ 187 w 514"/>
                  <a:gd name="T5" fmla="*/ 250 h 298"/>
                  <a:gd name="T6" fmla="*/ 217 w 514"/>
                  <a:gd name="T7" fmla="*/ 238 h 298"/>
                  <a:gd name="T8" fmla="*/ 238 w 514"/>
                  <a:gd name="T9" fmla="*/ 205 h 298"/>
                  <a:gd name="T10" fmla="*/ 216 w 514"/>
                  <a:gd name="T11" fmla="*/ 172 h 298"/>
                  <a:gd name="T12" fmla="*/ 214 w 514"/>
                  <a:gd name="T13" fmla="*/ 171 h 298"/>
                  <a:gd name="T14" fmla="*/ 160 w 514"/>
                  <a:gd name="T15" fmla="*/ 157 h 298"/>
                  <a:gd name="T16" fmla="*/ 105 w 514"/>
                  <a:gd name="T17" fmla="*/ 171 h 298"/>
                  <a:gd name="T18" fmla="*/ 87 w 514"/>
                  <a:gd name="T19" fmla="*/ 187 h 298"/>
                  <a:gd name="T20" fmla="*/ 77 w 514"/>
                  <a:gd name="T21" fmla="*/ 190 h 298"/>
                  <a:gd name="T22" fmla="*/ 69 w 514"/>
                  <a:gd name="T23" fmla="*/ 189 h 298"/>
                  <a:gd name="T24" fmla="*/ 0 w 514"/>
                  <a:gd name="T25" fmla="*/ 149 h 298"/>
                  <a:gd name="T26" fmla="*/ 256 w 514"/>
                  <a:gd name="T27" fmla="*/ 0 h 298"/>
                  <a:gd name="T28" fmla="*/ 514 w 514"/>
                  <a:gd name="T29" fmla="*/ 149 h 298"/>
                  <a:gd name="T30" fmla="*/ 446 w 514"/>
                  <a:gd name="T31" fmla="*/ 188 h 298"/>
                  <a:gd name="T32" fmla="*/ 439 w 514"/>
                  <a:gd name="T33" fmla="*/ 199 h 298"/>
                  <a:gd name="T34" fmla="*/ 446 w 514"/>
                  <a:gd name="T35" fmla="*/ 211 h 298"/>
                  <a:gd name="T36" fmla="*/ 453 w 514"/>
                  <a:gd name="T37" fmla="*/ 213 h 298"/>
                  <a:gd name="T38" fmla="*/ 477 w 514"/>
                  <a:gd name="T39" fmla="*/ 222 h 298"/>
                  <a:gd name="T40" fmla="*/ 496 w 514"/>
                  <a:gd name="T41" fmla="*/ 248 h 298"/>
                  <a:gd name="T42" fmla="*/ 476 w 514"/>
                  <a:gd name="T43" fmla="*/ 274 h 298"/>
                  <a:gd name="T44" fmla="*/ 428 w 514"/>
                  <a:gd name="T45" fmla="*/ 285 h 298"/>
                  <a:gd name="T46" fmla="*/ 382 w 514"/>
                  <a:gd name="T47" fmla="*/ 274 h 298"/>
                  <a:gd name="T48" fmla="*/ 379 w 514"/>
                  <a:gd name="T49" fmla="*/ 273 h 298"/>
                  <a:gd name="T50" fmla="*/ 364 w 514"/>
                  <a:gd name="T51" fmla="*/ 260 h 298"/>
                  <a:gd name="T52" fmla="*/ 359 w 514"/>
                  <a:gd name="T53" fmla="*/ 255 h 298"/>
                  <a:gd name="T54" fmla="*/ 345 w 514"/>
                  <a:gd name="T55" fmla="*/ 252 h 298"/>
                  <a:gd name="T56" fmla="*/ 331 w 514"/>
                  <a:gd name="T57" fmla="*/ 255 h 298"/>
                  <a:gd name="T58" fmla="*/ 258 w 514"/>
                  <a:gd name="T59" fmla="*/ 298 h 298"/>
                  <a:gd name="T60" fmla="*/ 183 w 514"/>
                  <a:gd name="T61" fmla="*/ 255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14" h="298">
                    <a:moveTo>
                      <a:pt x="183" y="255"/>
                    </a:moveTo>
                    <a:cubicBezTo>
                      <a:pt x="182" y="254"/>
                      <a:pt x="182" y="253"/>
                      <a:pt x="182" y="253"/>
                    </a:cubicBezTo>
                    <a:cubicBezTo>
                      <a:pt x="182" y="253"/>
                      <a:pt x="183" y="251"/>
                      <a:pt x="187" y="250"/>
                    </a:cubicBezTo>
                    <a:cubicBezTo>
                      <a:pt x="199" y="248"/>
                      <a:pt x="209" y="244"/>
                      <a:pt x="217" y="238"/>
                    </a:cubicBezTo>
                    <a:cubicBezTo>
                      <a:pt x="231" y="229"/>
                      <a:pt x="239" y="218"/>
                      <a:pt x="238" y="205"/>
                    </a:cubicBezTo>
                    <a:cubicBezTo>
                      <a:pt x="238" y="192"/>
                      <a:pt x="231" y="181"/>
                      <a:pt x="216" y="172"/>
                    </a:cubicBezTo>
                    <a:cubicBezTo>
                      <a:pt x="216" y="171"/>
                      <a:pt x="215" y="171"/>
                      <a:pt x="214" y="171"/>
                    </a:cubicBezTo>
                    <a:cubicBezTo>
                      <a:pt x="199" y="162"/>
                      <a:pt x="180" y="157"/>
                      <a:pt x="160" y="157"/>
                    </a:cubicBezTo>
                    <a:cubicBezTo>
                      <a:pt x="139" y="157"/>
                      <a:pt x="120" y="162"/>
                      <a:pt x="105" y="171"/>
                    </a:cubicBezTo>
                    <a:cubicBezTo>
                      <a:pt x="97" y="175"/>
                      <a:pt x="91" y="181"/>
                      <a:pt x="87" y="187"/>
                    </a:cubicBezTo>
                    <a:cubicBezTo>
                      <a:pt x="86" y="189"/>
                      <a:pt x="82" y="190"/>
                      <a:pt x="77" y="190"/>
                    </a:cubicBezTo>
                    <a:cubicBezTo>
                      <a:pt x="74" y="190"/>
                      <a:pt x="71" y="190"/>
                      <a:pt x="69" y="18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256" y="0"/>
                      <a:pt x="256" y="0"/>
                      <a:pt x="256" y="0"/>
                    </a:cubicBezTo>
                    <a:cubicBezTo>
                      <a:pt x="514" y="149"/>
                      <a:pt x="514" y="149"/>
                      <a:pt x="514" y="149"/>
                    </a:cubicBezTo>
                    <a:cubicBezTo>
                      <a:pt x="446" y="188"/>
                      <a:pt x="446" y="188"/>
                      <a:pt x="446" y="188"/>
                    </a:cubicBezTo>
                    <a:cubicBezTo>
                      <a:pt x="441" y="191"/>
                      <a:pt x="439" y="195"/>
                      <a:pt x="439" y="199"/>
                    </a:cubicBezTo>
                    <a:cubicBezTo>
                      <a:pt x="439" y="204"/>
                      <a:pt x="441" y="208"/>
                      <a:pt x="446" y="211"/>
                    </a:cubicBezTo>
                    <a:cubicBezTo>
                      <a:pt x="448" y="212"/>
                      <a:pt x="450" y="213"/>
                      <a:pt x="453" y="213"/>
                    </a:cubicBezTo>
                    <a:cubicBezTo>
                      <a:pt x="462" y="215"/>
                      <a:pt x="470" y="218"/>
                      <a:pt x="477" y="222"/>
                    </a:cubicBezTo>
                    <a:cubicBezTo>
                      <a:pt x="489" y="229"/>
                      <a:pt x="496" y="239"/>
                      <a:pt x="496" y="248"/>
                    </a:cubicBezTo>
                    <a:cubicBezTo>
                      <a:pt x="496" y="258"/>
                      <a:pt x="489" y="267"/>
                      <a:pt x="476" y="274"/>
                    </a:cubicBezTo>
                    <a:cubicBezTo>
                      <a:pt x="463" y="281"/>
                      <a:pt x="446" y="285"/>
                      <a:pt x="428" y="285"/>
                    </a:cubicBezTo>
                    <a:cubicBezTo>
                      <a:pt x="411" y="285"/>
                      <a:pt x="394" y="281"/>
                      <a:pt x="382" y="274"/>
                    </a:cubicBezTo>
                    <a:cubicBezTo>
                      <a:pt x="381" y="274"/>
                      <a:pt x="380" y="273"/>
                      <a:pt x="379" y="273"/>
                    </a:cubicBezTo>
                    <a:cubicBezTo>
                      <a:pt x="372" y="269"/>
                      <a:pt x="367" y="265"/>
                      <a:pt x="364" y="260"/>
                    </a:cubicBezTo>
                    <a:cubicBezTo>
                      <a:pt x="363" y="258"/>
                      <a:pt x="361" y="256"/>
                      <a:pt x="359" y="255"/>
                    </a:cubicBezTo>
                    <a:cubicBezTo>
                      <a:pt x="355" y="253"/>
                      <a:pt x="350" y="252"/>
                      <a:pt x="345" y="252"/>
                    </a:cubicBezTo>
                    <a:cubicBezTo>
                      <a:pt x="340" y="252"/>
                      <a:pt x="335" y="253"/>
                      <a:pt x="331" y="255"/>
                    </a:cubicBezTo>
                    <a:cubicBezTo>
                      <a:pt x="258" y="298"/>
                      <a:pt x="258" y="298"/>
                      <a:pt x="258" y="298"/>
                    </a:cubicBezTo>
                    <a:lnTo>
                      <a:pt x="183" y="255"/>
                    </a:lnTo>
                    <a:close/>
                  </a:path>
                </a:pathLst>
              </a:custGeom>
              <a:solidFill>
                <a:srgbClr val="726C6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">
                <a:extLst>
                  <a:ext uri="{FF2B5EF4-FFF2-40B4-BE49-F238E27FC236}">
                    <a16:creationId xmlns:a16="http://schemas.microsoft.com/office/drawing/2014/main" id="{132692C6-8DD0-48F0-BF4B-9333FB05F1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1569" y="4109787"/>
                <a:ext cx="2964138" cy="1718058"/>
              </a:xfrm>
              <a:custGeom>
                <a:avLst/>
                <a:gdLst>
                  <a:gd name="T0" fmla="*/ 490 w 536"/>
                  <a:gd name="T1" fmla="*/ 26 h 310"/>
                  <a:gd name="T2" fmla="*/ 490 w 536"/>
                  <a:gd name="T3" fmla="*/ 86 h 310"/>
                  <a:gd name="T4" fmla="*/ 464 w 536"/>
                  <a:gd name="T5" fmla="*/ 96 h 310"/>
                  <a:gd name="T6" fmla="*/ 459 w 536"/>
                  <a:gd name="T7" fmla="*/ 111 h 310"/>
                  <a:gd name="T8" fmla="*/ 536 w 536"/>
                  <a:gd name="T9" fmla="*/ 155 h 310"/>
                  <a:gd name="T10" fmla="*/ 269 w 536"/>
                  <a:gd name="T11" fmla="*/ 310 h 310"/>
                  <a:gd name="T12" fmla="*/ 0 w 536"/>
                  <a:gd name="T13" fmla="*/ 155 h 310"/>
                  <a:gd name="T14" fmla="*/ 77 w 536"/>
                  <a:gd name="T15" fmla="*/ 110 h 310"/>
                  <a:gd name="T16" fmla="*/ 98 w 536"/>
                  <a:gd name="T17" fmla="*/ 111 h 310"/>
                  <a:gd name="T18" fmla="*/ 102 w 536"/>
                  <a:gd name="T19" fmla="*/ 114 h 310"/>
                  <a:gd name="T20" fmla="*/ 118 w 536"/>
                  <a:gd name="T21" fmla="*/ 129 h 310"/>
                  <a:gd name="T22" fmla="*/ 224 w 536"/>
                  <a:gd name="T23" fmla="*/ 127 h 310"/>
                  <a:gd name="T24" fmla="*/ 224 w 536"/>
                  <a:gd name="T25" fmla="*/ 70 h 310"/>
                  <a:gd name="T26" fmla="*/ 222 w 536"/>
                  <a:gd name="T27" fmla="*/ 69 h 310"/>
                  <a:gd name="T28" fmla="*/ 196 w 536"/>
                  <a:gd name="T29" fmla="*/ 59 h 310"/>
                  <a:gd name="T30" fmla="*/ 191 w 536"/>
                  <a:gd name="T31" fmla="*/ 57 h 310"/>
                  <a:gd name="T32" fmla="*/ 190 w 536"/>
                  <a:gd name="T33" fmla="*/ 45 h 310"/>
                  <a:gd name="T34" fmla="*/ 267 w 536"/>
                  <a:gd name="T35" fmla="*/ 0 h 310"/>
                  <a:gd name="T36" fmla="*/ 344 w 536"/>
                  <a:gd name="T37" fmla="*/ 44 h 310"/>
                  <a:gd name="T38" fmla="*/ 369 w 536"/>
                  <a:gd name="T39" fmla="*/ 41 h 310"/>
                  <a:gd name="T40" fmla="*/ 389 w 536"/>
                  <a:gd name="T41" fmla="*/ 25 h 310"/>
                  <a:gd name="T42" fmla="*/ 488 w 536"/>
                  <a:gd name="T43" fmla="*/ 25 h 310"/>
                  <a:gd name="T44" fmla="*/ 490 w 536"/>
                  <a:gd name="T45" fmla="*/ 26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36" h="310">
                    <a:moveTo>
                      <a:pt x="490" y="26"/>
                    </a:moveTo>
                    <a:cubicBezTo>
                      <a:pt x="518" y="43"/>
                      <a:pt x="519" y="70"/>
                      <a:pt x="490" y="86"/>
                    </a:cubicBezTo>
                    <a:cubicBezTo>
                      <a:pt x="482" y="91"/>
                      <a:pt x="474" y="94"/>
                      <a:pt x="464" y="96"/>
                    </a:cubicBezTo>
                    <a:cubicBezTo>
                      <a:pt x="454" y="98"/>
                      <a:pt x="451" y="106"/>
                      <a:pt x="459" y="111"/>
                    </a:cubicBezTo>
                    <a:cubicBezTo>
                      <a:pt x="536" y="155"/>
                      <a:pt x="536" y="155"/>
                      <a:pt x="536" y="155"/>
                    </a:cubicBezTo>
                    <a:cubicBezTo>
                      <a:pt x="269" y="310"/>
                      <a:pt x="269" y="310"/>
                      <a:pt x="269" y="310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77" y="110"/>
                      <a:pt x="77" y="110"/>
                      <a:pt x="77" y="110"/>
                    </a:cubicBezTo>
                    <a:cubicBezTo>
                      <a:pt x="83" y="107"/>
                      <a:pt x="93" y="107"/>
                      <a:pt x="98" y="111"/>
                    </a:cubicBezTo>
                    <a:cubicBezTo>
                      <a:pt x="100" y="112"/>
                      <a:pt x="101" y="113"/>
                      <a:pt x="102" y="114"/>
                    </a:cubicBezTo>
                    <a:cubicBezTo>
                      <a:pt x="105" y="119"/>
                      <a:pt x="111" y="124"/>
                      <a:pt x="118" y="129"/>
                    </a:cubicBezTo>
                    <a:cubicBezTo>
                      <a:pt x="148" y="146"/>
                      <a:pt x="196" y="145"/>
                      <a:pt x="224" y="127"/>
                    </a:cubicBezTo>
                    <a:cubicBezTo>
                      <a:pt x="250" y="111"/>
                      <a:pt x="250" y="86"/>
                      <a:pt x="224" y="70"/>
                    </a:cubicBezTo>
                    <a:cubicBezTo>
                      <a:pt x="224" y="70"/>
                      <a:pt x="223" y="69"/>
                      <a:pt x="222" y="69"/>
                    </a:cubicBezTo>
                    <a:cubicBezTo>
                      <a:pt x="214" y="64"/>
                      <a:pt x="205" y="61"/>
                      <a:pt x="196" y="59"/>
                    </a:cubicBezTo>
                    <a:cubicBezTo>
                      <a:pt x="194" y="58"/>
                      <a:pt x="192" y="58"/>
                      <a:pt x="191" y="57"/>
                    </a:cubicBezTo>
                    <a:cubicBezTo>
                      <a:pt x="185" y="54"/>
                      <a:pt x="184" y="48"/>
                      <a:pt x="190" y="45"/>
                    </a:cubicBezTo>
                    <a:cubicBezTo>
                      <a:pt x="267" y="0"/>
                      <a:pt x="267" y="0"/>
                      <a:pt x="267" y="0"/>
                    </a:cubicBezTo>
                    <a:cubicBezTo>
                      <a:pt x="344" y="44"/>
                      <a:pt x="344" y="44"/>
                      <a:pt x="344" y="44"/>
                    </a:cubicBezTo>
                    <a:cubicBezTo>
                      <a:pt x="352" y="49"/>
                      <a:pt x="365" y="47"/>
                      <a:pt x="369" y="41"/>
                    </a:cubicBezTo>
                    <a:cubicBezTo>
                      <a:pt x="373" y="35"/>
                      <a:pt x="380" y="29"/>
                      <a:pt x="389" y="25"/>
                    </a:cubicBezTo>
                    <a:cubicBezTo>
                      <a:pt x="417" y="10"/>
                      <a:pt x="460" y="10"/>
                      <a:pt x="488" y="25"/>
                    </a:cubicBezTo>
                    <a:cubicBezTo>
                      <a:pt x="488" y="25"/>
                      <a:pt x="489" y="26"/>
                      <a:pt x="490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4">
                <a:extLst>
                  <a:ext uri="{FF2B5EF4-FFF2-40B4-BE49-F238E27FC236}">
                    <a16:creationId xmlns:a16="http://schemas.microsoft.com/office/drawing/2014/main" id="{53ED98FA-3970-488C-AA1A-75A8C28BD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2829" y="4143202"/>
                <a:ext cx="2841618" cy="1651229"/>
              </a:xfrm>
              <a:custGeom>
                <a:avLst/>
                <a:gdLst>
                  <a:gd name="T0" fmla="*/ 0 w 514"/>
                  <a:gd name="T1" fmla="*/ 149 h 298"/>
                  <a:gd name="T2" fmla="*/ 69 w 514"/>
                  <a:gd name="T3" fmla="*/ 109 h 298"/>
                  <a:gd name="T4" fmla="*/ 76 w 514"/>
                  <a:gd name="T5" fmla="*/ 107 h 298"/>
                  <a:gd name="T6" fmla="*/ 84 w 514"/>
                  <a:gd name="T7" fmla="*/ 109 h 298"/>
                  <a:gd name="T8" fmla="*/ 86 w 514"/>
                  <a:gd name="T9" fmla="*/ 111 h 298"/>
                  <a:gd name="T10" fmla="*/ 105 w 514"/>
                  <a:gd name="T11" fmla="*/ 127 h 298"/>
                  <a:gd name="T12" fmla="*/ 159 w 514"/>
                  <a:gd name="T13" fmla="*/ 141 h 298"/>
                  <a:gd name="T14" fmla="*/ 216 w 514"/>
                  <a:gd name="T15" fmla="*/ 126 h 298"/>
                  <a:gd name="T16" fmla="*/ 238 w 514"/>
                  <a:gd name="T17" fmla="*/ 93 h 298"/>
                  <a:gd name="T18" fmla="*/ 216 w 514"/>
                  <a:gd name="T19" fmla="*/ 60 h 298"/>
                  <a:gd name="T20" fmla="*/ 213 w 514"/>
                  <a:gd name="T21" fmla="*/ 58 h 298"/>
                  <a:gd name="T22" fmla="*/ 186 w 514"/>
                  <a:gd name="T23" fmla="*/ 48 h 298"/>
                  <a:gd name="T24" fmla="*/ 182 w 514"/>
                  <a:gd name="T25" fmla="*/ 46 h 298"/>
                  <a:gd name="T26" fmla="*/ 181 w 514"/>
                  <a:gd name="T27" fmla="*/ 44 h 298"/>
                  <a:gd name="T28" fmla="*/ 182 w 514"/>
                  <a:gd name="T29" fmla="*/ 43 h 298"/>
                  <a:gd name="T30" fmla="*/ 256 w 514"/>
                  <a:gd name="T31" fmla="*/ 0 h 298"/>
                  <a:gd name="T32" fmla="*/ 330 w 514"/>
                  <a:gd name="T33" fmla="*/ 43 h 298"/>
                  <a:gd name="T34" fmla="*/ 344 w 514"/>
                  <a:gd name="T35" fmla="*/ 46 h 298"/>
                  <a:gd name="T36" fmla="*/ 363 w 514"/>
                  <a:gd name="T37" fmla="*/ 38 h 298"/>
                  <a:gd name="T38" fmla="*/ 380 w 514"/>
                  <a:gd name="T39" fmla="*/ 23 h 298"/>
                  <a:gd name="T40" fmla="*/ 427 w 514"/>
                  <a:gd name="T41" fmla="*/ 13 h 298"/>
                  <a:gd name="T42" fmla="*/ 474 w 514"/>
                  <a:gd name="T43" fmla="*/ 24 h 298"/>
                  <a:gd name="T44" fmla="*/ 476 w 514"/>
                  <a:gd name="T45" fmla="*/ 25 h 298"/>
                  <a:gd name="T46" fmla="*/ 495 w 514"/>
                  <a:gd name="T47" fmla="*/ 50 h 298"/>
                  <a:gd name="T48" fmla="*/ 476 w 514"/>
                  <a:gd name="T49" fmla="*/ 76 h 298"/>
                  <a:gd name="T50" fmla="*/ 452 w 514"/>
                  <a:gd name="T51" fmla="*/ 85 h 298"/>
                  <a:gd name="T52" fmla="*/ 438 w 514"/>
                  <a:gd name="T53" fmla="*/ 97 h 298"/>
                  <a:gd name="T54" fmla="*/ 445 w 514"/>
                  <a:gd name="T55" fmla="*/ 109 h 298"/>
                  <a:gd name="T56" fmla="*/ 514 w 514"/>
                  <a:gd name="T57" fmla="*/ 149 h 298"/>
                  <a:gd name="T58" fmla="*/ 258 w 514"/>
                  <a:gd name="T59" fmla="*/ 298 h 298"/>
                  <a:gd name="T60" fmla="*/ 0 w 514"/>
                  <a:gd name="T61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14" h="298">
                    <a:moveTo>
                      <a:pt x="0" y="149"/>
                    </a:moveTo>
                    <a:cubicBezTo>
                      <a:pt x="69" y="109"/>
                      <a:pt x="69" y="109"/>
                      <a:pt x="69" y="109"/>
                    </a:cubicBezTo>
                    <a:cubicBezTo>
                      <a:pt x="71" y="108"/>
                      <a:pt x="73" y="107"/>
                      <a:pt x="76" y="107"/>
                    </a:cubicBezTo>
                    <a:cubicBezTo>
                      <a:pt x="79" y="107"/>
                      <a:pt x="82" y="108"/>
                      <a:pt x="84" y="109"/>
                    </a:cubicBezTo>
                    <a:cubicBezTo>
                      <a:pt x="85" y="110"/>
                      <a:pt x="86" y="110"/>
                      <a:pt x="86" y="111"/>
                    </a:cubicBezTo>
                    <a:cubicBezTo>
                      <a:pt x="90" y="117"/>
                      <a:pt x="96" y="123"/>
                      <a:pt x="105" y="127"/>
                    </a:cubicBezTo>
                    <a:cubicBezTo>
                      <a:pt x="119" y="136"/>
                      <a:pt x="139" y="141"/>
                      <a:pt x="159" y="141"/>
                    </a:cubicBezTo>
                    <a:cubicBezTo>
                      <a:pt x="181" y="141"/>
                      <a:pt x="201" y="135"/>
                      <a:pt x="216" y="126"/>
                    </a:cubicBezTo>
                    <a:cubicBezTo>
                      <a:pt x="230" y="117"/>
                      <a:pt x="238" y="105"/>
                      <a:pt x="238" y="93"/>
                    </a:cubicBezTo>
                    <a:cubicBezTo>
                      <a:pt x="238" y="80"/>
                      <a:pt x="230" y="68"/>
                      <a:pt x="216" y="60"/>
                    </a:cubicBezTo>
                    <a:cubicBezTo>
                      <a:pt x="215" y="59"/>
                      <a:pt x="214" y="58"/>
                      <a:pt x="213" y="58"/>
                    </a:cubicBezTo>
                    <a:cubicBezTo>
                      <a:pt x="206" y="53"/>
                      <a:pt x="196" y="50"/>
                      <a:pt x="186" y="48"/>
                    </a:cubicBezTo>
                    <a:cubicBezTo>
                      <a:pt x="185" y="47"/>
                      <a:pt x="183" y="47"/>
                      <a:pt x="182" y="46"/>
                    </a:cubicBezTo>
                    <a:cubicBezTo>
                      <a:pt x="181" y="45"/>
                      <a:pt x="181" y="45"/>
                      <a:pt x="181" y="44"/>
                    </a:cubicBezTo>
                    <a:cubicBezTo>
                      <a:pt x="181" y="44"/>
                      <a:pt x="181" y="44"/>
                      <a:pt x="182" y="43"/>
                    </a:cubicBezTo>
                    <a:cubicBezTo>
                      <a:pt x="256" y="0"/>
                      <a:pt x="256" y="0"/>
                      <a:pt x="256" y="0"/>
                    </a:cubicBezTo>
                    <a:cubicBezTo>
                      <a:pt x="330" y="43"/>
                      <a:pt x="330" y="43"/>
                      <a:pt x="330" y="43"/>
                    </a:cubicBezTo>
                    <a:cubicBezTo>
                      <a:pt x="334" y="45"/>
                      <a:pt x="339" y="46"/>
                      <a:pt x="344" y="46"/>
                    </a:cubicBezTo>
                    <a:cubicBezTo>
                      <a:pt x="350" y="46"/>
                      <a:pt x="359" y="44"/>
                      <a:pt x="363" y="38"/>
                    </a:cubicBezTo>
                    <a:cubicBezTo>
                      <a:pt x="366" y="33"/>
                      <a:pt x="372" y="28"/>
                      <a:pt x="380" y="23"/>
                    </a:cubicBezTo>
                    <a:cubicBezTo>
                      <a:pt x="393" y="17"/>
                      <a:pt x="409" y="13"/>
                      <a:pt x="427" y="13"/>
                    </a:cubicBezTo>
                    <a:cubicBezTo>
                      <a:pt x="444" y="13"/>
                      <a:pt x="461" y="17"/>
                      <a:pt x="474" y="24"/>
                    </a:cubicBezTo>
                    <a:cubicBezTo>
                      <a:pt x="475" y="24"/>
                      <a:pt x="475" y="25"/>
                      <a:pt x="476" y="25"/>
                    </a:cubicBezTo>
                    <a:cubicBezTo>
                      <a:pt x="488" y="32"/>
                      <a:pt x="495" y="41"/>
                      <a:pt x="495" y="50"/>
                    </a:cubicBezTo>
                    <a:cubicBezTo>
                      <a:pt x="495" y="60"/>
                      <a:pt x="488" y="69"/>
                      <a:pt x="476" y="76"/>
                    </a:cubicBezTo>
                    <a:cubicBezTo>
                      <a:pt x="469" y="80"/>
                      <a:pt x="461" y="83"/>
                      <a:pt x="452" y="85"/>
                    </a:cubicBezTo>
                    <a:cubicBezTo>
                      <a:pt x="444" y="86"/>
                      <a:pt x="439" y="91"/>
                      <a:pt x="438" y="97"/>
                    </a:cubicBezTo>
                    <a:cubicBezTo>
                      <a:pt x="437" y="102"/>
                      <a:pt x="440" y="106"/>
                      <a:pt x="445" y="109"/>
                    </a:cubicBezTo>
                    <a:cubicBezTo>
                      <a:pt x="514" y="149"/>
                      <a:pt x="514" y="149"/>
                      <a:pt x="514" y="149"/>
                    </a:cubicBezTo>
                    <a:cubicBezTo>
                      <a:pt x="258" y="298"/>
                      <a:pt x="258" y="298"/>
                      <a:pt x="258" y="298"/>
                    </a:cubicBez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5">
                <a:extLst>
                  <a:ext uri="{FF2B5EF4-FFF2-40B4-BE49-F238E27FC236}">
                    <a16:creationId xmlns:a16="http://schemas.microsoft.com/office/drawing/2014/main" id="{62EF4283-B385-4A2D-9FEC-0D6243BD52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8511" y="4968816"/>
                <a:ext cx="1477196" cy="1119383"/>
              </a:xfrm>
              <a:custGeom>
                <a:avLst/>
                <a:gdLst>
                  <a:gd name="T0" fmla="*/ 1061 w 1061"/>
                  <a:gd name="T1" fmla="*/ 0 h 804"/>
                  <a:gd name="T2" fmla="*/ 1061 w 1061"/>
                  <a:gd name="T3" fmla="*/ 187 h 804"/>
                  <a:gd name="T4" fmla="*/ 0 w 1061"/>
                  <a:gd name="T5" fmla="*/ 804 h 804"/>
                  <a:gd name="T6" fmla="*/ 0 w 1061"/>
                  <a:gd name="T7" fmla="*/ 617 h 804"/>
                  <a:gd name="T8" fmla="*/ 1061 w 1061"/>
                  <a:gd name="T9" fmla="*/ 0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1" h="804">
                    <a:moveTo>
                      <a:pt x="1061" y="0"/>
                    </a:moveTo>
                    <a:lnTo>
                      <a:pt x="1061" y="187"/>
                    </a:lnTo>
                    <a:lnTo>
                      <a:pt x="0" y="804"/>
                    </a:lnTo>
                    <a:lnTo>
                      <a:pt x="0" y="617"/>
                    </a:lnTo>
                    <a:lnTo>
                      <a:pt x="1061" y="0"/>
                    </a:ln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6">
                <a:extLst>
                  <a:ext uri="{FF2B5EF4-FFF2-40B4-BE49-F238E27FC236}">
                    <a16:creationId xmlns:a16="http://schemas.microsoft.com/office/drawing/2014/main" id="{8100605E-AEA5-4AD9-8F5D-103897614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1569" y="4968816"/>
                <a:ext cx="1486942" cy="1119383"/>
              </a:xfrm>
              <a:custGeom>
                <a:avLst/>
                <a:gdLst>
                  <a:gd name="T0" fmla="*/ 1068 w 1068"/>
                  <a:gd name="T1" fmla="*/ 617 h 804"/>
                  <a:gd name="T2" fmla="*/ 1068 w 1068"/>
                  <a:gd name="T3" fmla="*/ 804 h 804"/>
                  <a:gd name="T4" fmla="*/ 0 w 1068"/>
                  <a:gd name="T5" fmla="*/ 187 h 804"/>
                  <a:gd name="T6" fmla="*/ 0 w 1068"/>
                  <a:gd name="T7" fmla="*/ 0 h 804"/>
                  <a:gd name="T8" fmla="*/ 1068 w 1068"/>
                  <a:gd name="T9" fmla="*/ 617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8" h="804">
                    <a:moveTo>
                      <a:pt x="1068" y="617"/>
                    </a:moveTo>
                    <a:lnTo>
                      <a:pt x="1068" y="804"/>
                    </a:lnTo>
                    <a:lnTo>
                      <a:pt x="0" y="187"/>
                    </a:lnTo>
                    <a:lnTo>
                      <a:pt x="0" y="0"/>
                    </a:lnTo>
                    <a:lnTo>
                      <a:pt x="1068" y="617"/>
                    </a:lnTo>
                    <a:close/>
                  </a:path>
                </a:pathLst>
              </a:custGeom>
              <a:solidFill>
                <a:srgbClr val="700E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Rechthoek 11">
                <a:extLst>
                  <a:ext uri="{FF2B5EF4-FFF2-40B4-BE49-F238E27FC236}">
                    <a16:creationId xmlns:a16="http://schemas.microsoft.com/office/drawing/2014/main" id="{588C1561-4A31-497B-8390-4D03870D16B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5634" y="3715841"/>
                <a:ext cx="684000" cy="684000"/>
              </a:xfrm>
              <a:prstGeom prst="rect">
                <a:avLst/>
              </a:prstGeom>
              <a:blipFill dpi="0" rotWithShape="1">
                <a:blip r:embed="rId4"/>
                <a:srcRect/>
                <a:stretch>
                  <a:fillRect/>
                </a:stretch>
              </a:blipFill>
              <a:ln>
                <a:noFill/>
              </a:ln>
              <a:scene3d>
                <a:camera prst="isometricTop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A1C1FB3D-6FE5-4444-80DF-6D1C56178D7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480435" y="4666865"/>
                <a:ext cx="684000" cy="684000"/>
              </a:xfrm>
              <a:prstGeom prst="rect">
                <a:avLst/>
              </a:prstGeom>
              <a:blipFill dpi="0" rotWithShape="1">
                <a:blip r:embed="rId5"/>
                <a:srcRect/>
                <a:stretch>
                  <a:fillRect/>
                </a:stretch>
              </a:blipFill>
              <a:ln>
                <a:noFill/>
              </a:ln>
              <a:scene3d>
                <a:camera prst="isometricTop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6" name="Rechthoek 135">
                <a:extLst>
                  <a:ext uri="{FF2B5EF4-FFF2-40B4-BE49-F238E27FC236}">
                    <a16:creationId xmlns:a16="http://schemas.microsoft.com/office/drawing/2014/main" id="{04A9B99D-8E0B-466A-9B35-A2A3122D042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96320" y="3667536"/>
                <a:ext cx="684000" cy="684000"/>
              </a:xfrm>
              <a:prstGeom prst="rect">
                <a:avLst/>
              </a:prstGeom>
              <a:blipFill dpi="0" rotWithShape="1">
                <a:blip r:embed="rId6"/>
                <a:srcRect/>
                <a:stretch>
                  <a:fillRect/>
                </a:stretch>
              </a:blipFill>
              <a:ln>
                <a:noFill/>
              </a:ln>
              <a:scene3d>
                <a:camera prst="isometricTop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7" name="Rechthoek 136">
                <a:extLst>
                  <a:ext uri="{FF2B5EF4-FFF2-40B4-BE49-F238E27FC236}">
                    <a16:creationId xmlns:a16="http://schemas.microsoft.com/office/drawing/2014/main" id="{BDEB8877-462A-49C4-98C8-4DEE3FAD5BA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01556" y="4695476"/>
                <a:ext cx="684000" cy="684000"/>
              </a:xfrm>
              <a:prstGeom prst="rect">
                <a:avLst/>
              </a:prstGeom>
              <a:blipFill dpi="0" rotWithShape="1">
                <a:blip r:embed="rId7"/>
                <a:srcRect/>
                <a:stretch>
                  <a:fillRect/>
                </a:stretch>
              </a:blipFill>
              <a:ln>
                <a:noFill/>
              </a:ln>
              <a:scene3d>
                <a:camera prst="isometricTop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38" name="Rechthoek 137">
                <a:extLst>
                  <a:ext uri="{FF2B5EF4-FFF2-40B4-BE49-F238E27FC236}">
                    <a16:creationId xmlns:a16="http://schemas.microsoft.com/office/drawing/2014/main" id="{8A9B7D44-C701-4EB3-AE2C-2CE42B80224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900265" y="3667536"/>
                <a:ext cx="684000" cy="684000"/>
              </a:xfrm>
              <a:prstGeom prst="rect">
                <a:avLst/>
              </a:prstGeom>
              <a:blipFill dpi="0" rotWithShape="1">
                <a:blip r:embed="rId8"/>
                <a:srcRect/>
                <a:stretch>
                  <a:fillRect/>
                </a:stretch>
              </a:blipFill>
              <a:ln>
                <a:noFill/>
              </a:ln>
              <a:scene3d>
                <a:camera prst="isometricTopUp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261115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ep 13">
            <a:extLst>
              <a:ext uri="{FF2B5EF4-FFF2-40B4-BE49-F238E27FC236}">
                <a16:creationId xmlns:a16="http://schemas.microsoft.com/office/drawing/2014/main" id="{E5B15B2F-617C-4489-96C9-DFB8C06DE057}"/>
              </a:ext>
            </a:extLst>
          </p:cNvPr>
          <p:cNvGrpSpPr/>
          <p:nvPr/>
        </p:nvGrpSpPr>
        <p:grpSpPr>
          <a:xfrm>
            <a:off x="6048462" y="3671020"/>
            <a:ext cx="67710" cy="862880"/>
            <a:chOff x="6048462" y="3671020"/>
            <a:chExt cx="67710" cy="862880"/>
          </a:xfrm>
        </p:grpSpPr>
        <p:cxnSp>
          <p:nvCxnSpPr>
            <p:cNvPr id="4" name="Rechte verbindingslijn 3">
              <a:extLst>
                <a:ext uri="{FF2B5EF4-FFF2-40B4-BE49-F238E27FC236}">
                  <a16:creationId xmlns:a16="http://schemas.microsoft.com/office/drawing/2014/main" id="{1FA69F61-63E5-4387-AC86-DF608542B278}"/>
                </a:ext>
              </a:extLst>
            </p:cNvPr>
            <p:cNvCxnSpPr>
              <a:cxnSpLocks/>
            </p:cNvCxnSpPr>
            <p:nvPr/>
          </p:nvCxnSpPr>
          <p:spPr>
            <a:xfrm>
              <a:off x="6082317" y="3695866"/>
              <a:ext cx="0" cy="838034"/>
            </a:xfrm>
            <a:prstGeom prst="line">
              <a:avLst/>
            </a:prstGeom>
            <a:ln w="254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Ovaal 8">
              <a:extLst>
                <a:ext uri="{FF2B5EF4-FFF2-40B4-BE49-F238E27FC236}">
                  <a16:creationId xmlns:a16="http://schemas.microsoft.com/office/drawing/2014/main" id="{E4F27C6E-A148-4012-9DD6-059994DAECFD}"/>
                </a:ext>
              </a:extLst>
            </p:cNvPr>
            <p:cNvSpPr/>
            <p:nvPr/>
          </p:nvSpPr>
          <p:spPr>
            <a:xfrm>
              <a:off x="6048462" y="3671020"/>
              <a:ext cx="67710" cy="67710"/>
            </a:xfrm>
            <a:prstGeom prst="ellipse">
              <a:avLst/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MA Design</a:t>
            </a:r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8495AE13-EEEA-4CB0-9C32-DFE988255A47}"/>
              </a:ext>
            </a:extLst>
          </p:cNvPr>
          <p:cNvGrpSpPr/>
          <p:nvPr/>
        </p:nvGrpSpPr>
        <p:grpSpPr>
          <a:xfrm>
            <a:off x="5194300" y="4381714"/>
            <a:ext cx="5347210" cy="1706485"/>
            <a:chOff x="1650490" y="3250758"/>
            <a:chExt cx="8891020" cy="2837441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770B2F9F-C7B1-486C-9CF2-F13E7F0E9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4568" y="4109787"/>
              <a:ext cx="1486942" cy="1119383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DE6F9AA-8AF1-46EB-9FFA-B55980CC3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372" y="3250758"/>
              <a:ext cx="2964138" cy="1718058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D92E8E10-7700-45AA-B23A-CE3702B6B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8632" y="3284172"/>
              <a:ext cx="2841618" cy="1651229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34DD6D16-2083-4C3E-BB1E-2BB4BD3AF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26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F4E29A15-9A6B-4FE0-AE76-E2B44B054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317" y="4109787"/>
              <a:ext cx="448310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026898BB-D26E-4226-BE51-14E9E02B6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3250758"/>
              <a:ext cx="2964138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B4ED6C9A-C4DA-49CC-B9CD-1DDDD2A3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750" y="328417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95EF641E-B809-4506-AF57-366CC8C1D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6C56836-065C-48CE-9F24-AB88E40EC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700E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CC3F2265-3406-48E3-988D-C252081E9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690" y="4420263"/>
              <a:ext cx="316045" cy="526277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D5620D4-D161-47D1-BD84-1BAB21F03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8CA7D311-FF23-4946-AA44-F3D1BD764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58" y="4137196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C6F1C8CF-47F0-48C0-AD65-9735AC8BF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766" y="4968816"/>
              <a:ext cx="1475803" cy="1119383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DF028DBA-58C7-46B3-A060-668E871A2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968816"/>
              <a:ext cx="1488334" cy="1119383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1F2CD81E-6C5F-406B-BBEF-ACB67EF6B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454" y="4109787"/>
              <a:ext cx="446918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46927B09-7E04-44FB-A341-54C7035B1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043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C5555BAF-68C7-4DD0-9D91-023729370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628" y="3250758"/>
              <a:ext cx="2962745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2">
              <a:extLst>
                <a:ext uri="{FF2B5EF4-FFF2-40B4-BE49-F238E27FC236}">
                  <a16:creationId xmlns:a16="http://schemas.microsoft.com/office/drawing/2014/main" id="{4B933BD8-4FE6-48F6-99DD-C109D92B8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748" y="3314118"/>
              <a:ext cx="2843010" cy="1651229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3">
              <a:extLst>
                <a:ext uri="{FF2B5EF4-FFF2-40B4-BE49-F238E27FC236}">
                  <a16:creationId xmlns:a16="http://schemas.microsoft.com/office/drawing/2014/main" id="{132692C6-8DD0-48F0-BF4B-9333FB05F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">
              <a:extLst>
                <a:ext uri="{FF2B5EF4-FFF2-40B4-BE49-F238E27FC236}">
                  <a16:creationId xmlns:a16="http://schemas.microsoft.com/office/drawing/2014/main" id="{53ED98FA-3970-488C-AA1A-75A8C28BD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829" y="414320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">
              <a:extLst>
                <a:ext uri="{FF2B5EF4-FFF2-40B4-BE49-F238E27FC236}">
                  <a16:creationId xmlns:a16="http://schemas.microsoft.com/office/drawing/2014/main" id="{62EF4283-B385-4A2D-9FEC-0D6243BD5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511" y="4968816"/>
              <a:ext cx="1477196" cy="1119383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">
              <a:extLst>
                <a:ext uri="{FF2B5EF4-FFF2-40B4-BE49-F238E27FC236}">
                  <a16:creationId xmlns:a16="http://schemas.microsoft.com/office/drawing/2014/main" id="{8100605E-AEA5-4AD9-8F5D-103897614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968816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588C1561-4A31-497B-8390-4D03870D16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5634" y="3715841"/>
              <a:ext cx="684000" cy="684000"/>
            </a:xfrm>
            <a:prstGeom prst="rect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5" name="Rechthoek 134">
              <a:extLst>
                <a:ext uri="{FF2B5EF4-FFF2-40B4-BE49-F238E27FC236}">
                  <a16:creationId xmlns:a16="http://schemas.microsoft.com/office/drawing/2014/main" id="{A1C1FB3D-6FE5-4444-80DF-6D1C56178D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80435" y="4666865"/>
              <a:ext cx="684000" cy="68400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04A9B99D-8E0B-466A-9B35-A2A3122D04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96320" y="3667536"/>
              <a:ext cx="684000" cy="684000"/>
            </a:xfrm>
            <a:prstGeom prst="rect">
              <a:avLst/>
            </a:prstGeom>
            <a:blipFill dpi="0" rotWithShape="1">
              <a:blip r:embed="rId6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BDEB8877-462A-49C4-98C8-4DEE3FAD5B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1556" y="4695476"/>
              <a:ext cx="684000" cy="684000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8" name="Rechthoek 137">
              <a:extLst>
                <a:ext uri="{FF2B5EF4-FFF2-40B4-BE49-F238E27FC236}">
                  <a16:creationId xmlns:a16="http://schemas.microsoft.com/office/drawing/2014/main" id="{8A9B7D44-C701-4EB3-AE2C-2CE42B8022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0265" y="3667536"/>
              <a:ext cx="684000" cy="684000"/>
            </a:xfrm>
            <a:prstGeom prst="rect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69F82207-EBE7-4EFB-A267-C02E58F1BB5C}"/>
              </a:ext>
            </a:extLst>
          </p:cNvPr>
          <p:cNvSpPr/>
          <p:nvPr/>
        </p:nvSpPr>
        <p:spPr>
          <a:xfrm>
            <a:off x="5631951" y="1156686"/>
            <a:ext cx="4400550" cy="2357582"/>
          </a:xfrm>
          <a:prstGeom prst="roundRect">
            <a:avLst/>
          </a:prstGeom>
          <a:noFill/>
          <a:ln w="254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58C406BA-EE2E-4CFD-8322-848CF221FDF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6" t="8191" r="7096"/>
          <a:stretch/>
        </p:blipFill>
        <p:spPr>
          <a:xfrm>
            <a:off x="5860693" y="1289825"/>
            <a:ext cx="3943067" cy="2181834"/>
          </a:xfrm>
          <a:prstGeom prst="rect">
            <a:avLst/>
          </a:prstGeom>
        </p:spPr>
      </p:pic>
      <p:grpSp>
        <p:nvGrpSpPr>
          <p:cNvPr id="15" name="Groep 14">
            <a:extLst>
              <a:ext uri="{FF2B5EF4-FFF2-40B4-BE49-F238E27FC236}">
                <a16:creationId xmlns:a16="http://schemas.microsoft.com/office/drawing/2014/main" id="{0EF2870F-E89A-4B93-A621-6F192EB9FB73}"/>
              </a:ext>
            </a:extLst>
          </p:cNvPr>
          <p:cNvGrpSpPr/>
          <p:nvPr/>
        </p:nvGrpSpPr>
        <p:grpSpPr>
          <a:xfrm>
            <a:off x="1112964" y="2527263"/>
            <a:ext cx="2803522" cy="1453548"/>
            <a:chOff x="678408" y="2527263"/>
            <a:chExt cx="2803522" cy="1453548"/>
          </a:xfrm>
        </p:grpSpPr>
        <p:sp>
          <p:nvSpPr>
            <p:cNvPr id="80" name="TextBox 18">
              <a:extLst>
                <a:ext uri="{FF2B5EF4-FFF2-40B4-BE49-F238E27FC236}">
                  <a16:creationId xmlns:a16="http://schemas.microsoft.com/office/drawing/2014/main" id="{DA2E72C3-CA33-42E2-9E92-3FE364A6604E}"/>
                </a:ext>
              </a:extLst>
            </p:cNvPr>
            <p:cNvSpPr txBox="1"/>
            <p:nvPr/>
          </p:nvSpPr>
          <p:spPr>
            <a:xfrm>
              <a:off x="2883115" y="2527263"/>
              <a:ext cx="598815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0" b="1" dirty="0">
                  <a:solidFill>
                    <a:srgbClr val="C81919">
                      <a:alpha val="20000"/>
                    </a:srgbClr>
                  </a:solidFill>
                </a:rPr>
                <a:t>A</a:t>
              </a:r>
            </a:p>
          </p:txBody>
        </p:sp>
        <p:grpSp>
          <p:nvGrpSpPr>
            <p:cNvPr id="81" name="Group 24">
              <a:extLst>
                <a:ext uri="{FF2B5EF4-FFF2-40B4-BE49-F238E27FC236}">
                  <a16:creationId xmlns:a16="http://schemas.microsoft.com/office/drawing/2014/main" id="{395861CC-AB50-4B51-880C-84CBABB0C4F7}"/>
                </a:ext>
              </a:extLst>
            </p:cNvPr>
            <p:cNvGrpSpPr/>
            <p:nvPr/>
          </p:nvGrpSpPr>
          <p:grpSpPr>
            <a:xfrm>
              <a:off x="678408" y="2790691"/>
              <a:ext cx="2470260" cy="1190120"/>
              <a:chOff x="671293" y="4439310"/>
              <a:chExt cx="2470260" cy="1190120"/>
            </a:xfrm>
          </p:grpSpPr>
          <p:sp>
            <p:nvSpPr>
              <p:cNvPr id="82" name="TextBox 123">
                <a:extLst>
                  <a:ext uri="{FF2B5EF4-FFF2-40B4-BE49-F238E27FC236}">
                    <a16:creationId xmlns:a16="http://schemas.microsoft.com/office/drawing/2014/main" id="{1AD9EF85-B149-4EC1-BEBF-C2FC8B64D10A}"/>
                  </a:ext>
                </a:extLst>
              </p:cNvPr>
              <p:cNvSpPr txBox="1"/>
              <p:nvPr/>
            </p:nvSpPr>
            <p:spPr>
              <a:xfrm>
                <a:off x="731178" y="4767656"/>
                <a:ext cx="2410375" cy="8617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ollection of Five </a:t>
                </a: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Beta-Binomia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  distributions, modeling distribution of estimated success instead of fixed point</a:t>
                </a:r>
              </a:p>
            </p:txBody>
          </p:sp>
          <p:sp>
            <p:nvSpPr>
              <p:cNvPr id="83" name="TextBox 124">
                <a:extLst>
                  <a:ext uri="{FF2B5EF4-FFF2-40B4-BE49-F238E27FC236}">
                    <a16:creationId xmlns:a16="http://schemas.microsoft.com/office/drawing/2014/main" id="{7F89A4AD-BEBD-4BF2-9A9B-37DF65C1DB39}"/>
                  </a:ext>
                </a:extLst>
              </p:cNvPr>
              <p:cNvSpPr txBox="1"/>
              <p:nvPr/>
            </p:nvSpPr>
            <p:spPr>
              <a:xfrm>
                <a:off x="671293" y="4439310"/>
                <a:ext cx="241037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2000" b="1" dirty="0">
                    <a:solidFill>
                      <a:srgbClr val="C81919"/>
                    </a:solidFill>
                    <a:latin typeface="Century Gothic" panose="020B0502020202020204" pitchFamily="34" charset="0"/>
                  </a:rPr>
                  <a:t>User Profiling</a:t>
                </a:r>
                <a:endParaRPr lang="en-US" sz="2000" b="1" dirty="0">
                  <a:solidFill>
                    <a:srgbClr val="C81919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81678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ep 12">
            <a:extLst>
              <a:ext uri="{FF2B5EF4-FFF2-40B4-BE49-F238E27FC236}">
                <a16:creationId xmlns:a16="http://schemas.microsoft.com/office/drawing/2014/main" id="{8495AE13-EEEA-4CB0-9C32-DFE988255A47}"/>
              </a:ext>
            </a:extLst>
          </p:cNvPr>
          <p:cNvGrpSpPr/>
          <p:nvPr/>
        </p:nvGrpSpPr>
        <p:grpSpPr>
          <a:xfrm>
            <a:off x="5194300" y="4381714"/>
            <a:ext cx="5347210" cy="1706485"/>
            <a:chOff x="1650490" y="3250758"/>
            <a:chExt cx="8891020" cy="2837441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770B2F9F-C7B1-486C-9CF2-F13E7F0E9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4568" y="4109787"/>
              <a:ext cx="1486942" cy="1119383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DE6F9AA-8AF1-46EB-9FFA-B55980CC3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372" y="3250758"/>
              <a:ext cx="2964138" cy="1718058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D92E8E10-7700-45AA-B23A-CE3702B6B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8632" y="3284172"/>
              <a:ext cx="2841618" cy="1651229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34DD6D16-2083-4C3E-BB1E-2BB4BD3AF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26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F4E29A15-9A6B-4FE0-AE76-E2B44B054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317" y="4109787"/>
              <a:ext cx="448310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026898BB-D26E-4226-BE51-14E9E02B6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3250758"/>
              <a:ext cx="2964138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B4ED6C9A-C4DA-49CC-B9CD-1DDDD2A3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750" y="328417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95EF641E-B809-4506-AF57-366CC8C1D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6C56836-065C-48CE-9F24-AB88E40EC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CC3F2265-3406-48E3-988D-C252081E9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690" y="4420263"/>
              <a:ext cx="316045" cy="526277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D5620D4-D161-47D1-BD84-1BAB21F03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8CA7D311-FF23-4946-AA44-F3D1BD764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58" y="4137196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rgbClr val="F39F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C6F1C8CF-47F0-48C0-AD65-9735AC8BF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766" y="4968816"/>
              <a:ext cx="1475803" cy="1119383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rgbClr val="F39F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DF028DBA-58C7-46B3-A060-668E871A2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968816"/>
              <a:ext cx="1488334" cy="1119383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rgbClr val="F084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1F2CD81E-6C5F-406B-BBEF-ACB67EF6B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454" y="4109787"/>
              <a:ext cx="446918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46927B09-7E04-44FB-A341-54C7035B1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043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C5555BAF-68C7-4DD0-9D91-023729370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628" y="3250758"/>
              <a:ext cx="2962745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2">
              <a:extLst>
                <a:ext uri="{FF2B5EF4-FFF2-40B4-BE49-F238E27FC236}">
                  <a16:creationId xmlns:a16="http://schemas.microsoft.com/office/drawing/2014/main" id="{4B933BD8-4FE6-48F6-99DD-C109D92B8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748" y="3314118"/>
              <a:ext cx="2843010" cy="1651229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3">
              <a:extLst>
                <a:ext uri="{FF2B5EF4-FFF2-40B4-BE49-F238E27FC236}">
                  <a16:creationId xmlns:a16="http://schemas.microsoft.com/office/drawing/2014/main" id="{132692C6-8DD0-48F0-BF4B-9333FB05F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">
              <a:extLst>
                <a:ext uri="{FF2B5EF4-FFF2-40B4-BE49-F238E27FC236}">
                  <a16:creationId xmlns:a16="http://schemas.microsoft.com/office/drawing/2014/main" id="{53ED98FA-3970-488C-AA1A-75A8C28BD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829" y="414320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">
              <a:extLst>
                <a:ext uri="{FF2B5EF4-FFF2-40B4-BE49-F238E27FC236}">
                  <a16:creationId xmlns:a16="http://schemas.microsoft.com/office/drawing/2014/main" id="{62EF4283-B385-4A2D-9FEC-0D6243BD5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511" y="4968816"/>
              <a:ext cx="1477196" cy="1119383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">
              <a:extLst>
                <a:ext uri="{FF2B5EF4-FFF2-40B4-BE49-F238E27FC236}">
                  <a16:creationId xmlns:a16="http://schemas.microsoft.com/office/drawing/2014/main" id="{8100605E-AEA5-4AD9-8F5D-103897614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968816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588C1561-4A31-497B-8390-4D03870D16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5634" y="3715841"/>
              <a:ext cx="684000" cy="684000"/>
            </a:xfrm>
            <a:prstGeom prst="rect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5" name="Rechthoek 134">
              <a:extLst>
                <a:ext uri="{FF2B5EF4-FFF2-40B4-BE49-F238E27FC236}">
                  <a16:creationId xmlns:a16="http://schemas.microsoft.com/office/drawing/2014/main" id="{A1C1FB3D-6FE5-4444-80DF-6D1C56178D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80435" y="4666865"/>
              <a:ext cx="684000" cy="684000"/>
            </a:xfrm>
            <a:prstGeom prst="rect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04A9B99D-8E0B-466A-9B35-A2A3122D04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96320" y="3667536"/>
              <a:ext cx="684000" cy="68400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BDEB8877-462A-49C4-98C8-4DEE3FAD5B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1556" y="4695476"/>
              <a:ext cx="684000" cy="684000"/>
            </a:xfrm>
            <a:prstGeom prst="rect">
              <a:avLst/>
            </a:prstGeom>
            <a:blipFill dpi="0" rotWithShape="1">
              <a:blip r:embed="rId6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8" name="Rechthoek 137">
              <a:extLst>
                <a:ext uri="{FF2B5EF4-FFF2-40B4-BE49-F238E27FC236}">
                  <a16:creationId xmlns:a16="http://schemas.microsoft.com/office/drawing/2014/main" id="{8A9B7D44-C701-4EB3-AE2C-2CE42B8022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0265" y="3667536"/>
              <a:ext cx="684000" cy="684000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grpSp>
        <p:nvGrpSpPr>
          <p:cNvPr id="101" name="Groep 100">
            <a:extLst>
              <a:ext uri="{FF2B5EF4-FFF2-40B4-BE49-F238E27FC236}">
                <a16:creationId xmlns:a16="http://schemas.microsoft.com/office/drawing/2014/main" id="{3072E8EF-6E5D-420C-983D-D6370EAAEE78}"/>
              </a:ext>
            </a:extLst>
          </p:cNvPr>
          <p:cNvGrpSpPr/>
          <p:nvPr/>
        </p:nvGrpSpPr>
        <p:grpSpPr>
          <a:xfrm>
            <a:off x="6938949" y="3671020"/>
            <a:ext cx="67710" cy="1243813"/>
            <a:chOff x="6048462" y="3671020"/>
            <a:chExt cx="67710" cy="1243813"/>
          </a:xfrm>
        </p:grpSpPr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5DBB1FF2-EA8B-414A-96B3-8E54D1952766}"/>
                </a:ext>
              </a:extLst>
            </p:cNvPr>
            <p:cNvCxnSpPr>
              <a:cxnSpLocks/>
            </p:cNvCxnSpPr>
            <p:nvPr/>
          </p:nvCxnSpPr>
          <p:spPr>
            <a:xfrm>
              <a:off x="6081518" y="3695866"/>
              <a:ext cx="1599" cy="1218967"/>
            </a:xfrm>
            <a:prstGeom prst="line">
              <a:avLst/>
            </a:prstGeom>
            <a:ln w="254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Ovaal 102">
              <a:extLst>
                <a:ext uri="{FF2B5EF4-FFF2-40B4-BE49-F238E27FC236}">
                  <a16:creationId xmlns:a16="http://schemas.microsoft.com/office/drawing/2014/main" id="{690D30E7-DEF4-4BDC-8EDB-706EE3810A16}"/>
                </a:ext>
              </a:extLst>
            </p:cNvPr>
            <p:cNvSpPr/>
            <p:nvPr/>
          </p:nvSpPr>
          <p:spPr>
            <a:xfrm>
              <a:off x="6048462" y="3671020"/>
              <a:ext cx="67710" cy="67710"/>
            </a:xfrm>
            <a:prstGeom prst="ellipse">
              <a:avLst/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8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4" name="Rechthoek: afgeronde hoeken 103">
            <a:extLst>
              <a:ext uri="{FF2B5EF4-FFF2-40B4-BE49-F238E27FC236}">
                <a16:creationId xmlns:a16="http://schemas.microsoft.com/office/drawing/2014/main" id="{DDD41BD8-E3FD-4998-B747-893284B76F69}"/>
              </a:ext>
            </a:extLst>
          </p:cNvPr>
          <p:cNvSpPr/>
          <p:nvPr/>
        </p:nvSpPr>
        <p:spPr>
          <a:xfrm>
            <a:off x="5631951" y="1156686"/>
            <a:ext cx="4400550" cy="2357582"/>
          </a:xfrm>
          <a:prstGeom prst="roundRect">
            <a:avLst/>
          </a:prstGeom>
          <a:noFill/>
          <a:ln w="254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6E2A130E-20E0-4CDE-8483-E3BDD083865A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MA Design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760DC3E9-D2DE-417C-816E-F51502AE5E6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609"/>
          <a:stretch/>
        </p:blipFill>
        <p:spPr>
          <a:xfrm>
            <a:off x="6295152" y="1269855"/>
            <a:ext cx="3225889" cy="2122279"/>
          </a:xfrm>
          <a:prstGeom prst="rect">
            <a:avLst/>
          </a:prstGeom>
        </p:spPr>
      </p:pic>
      <p:grpSp>
        <p:nvGrpSpPr>
          <p:cNvPr id="111" name="Groep 110">
            <a:extLst>
              <a:ext uri="{FF2B5EF4-FFF2-40B4-BE49-F238E27FC236}">
                <a16:creationId xmlns:a16="http://schemas.microsoft.com/office/drawing/2014/main" id="{75B441DA-8FFE-4058-8F33-DD184255ADFE}"/>
              </a:ext>
            </a:extLst>
          </p:cNvPr>
          <p:cNvGrpSpPr/>
          <p:nvPr/>
        </p:nvGrpSpPr>
        <p:grpSpPr>
          <a:xfrm>
            <a:off x="1112964" y="2527263"/>
            <a:ext cx="2803522" cy="1238105"/>
            <a:chOff x="678408" y="2527263"/>
            <a:chExt cx="2803522" cy="1238105"/>
          </a:xfrm>
        </p:grpSpPr>
        <p:sp>
          <p:nvSpPr>
            <p:cNvPr id="112" name="TextBox 18">
              <a:extLst>
                <a:ext uri="{FF2B5EF4-FFF2-40B4-BE49-F238E27FC236}">
                  <a16:creationId xmlns:a16="http://schemas.microsoft.com/office/drawing/2014/main" id="{F2A7E1BC-04B9-4048-920A-E14458563294}"/>
                </a:ext>
              </a:extLst>
            </p:cNvPr>
            <p:cNvSpPr txBox="1"/>
            <p:nvPr/>
          </p:nvSpPr>
          <p:spPr>
            <a:xfrm>
              <a:off x="2883115" y="2527263"/>
              <a:ext cx="598815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0" b="1" dirty="0">
                  <a:solidFill>
                    <a:srgbClr val="C81919">
                      <a:alpha val="20000"/>
                    </a:srgbClr>
                  </a:solidFill>
                </a:rPr>
                <a:t>B</a:t>
              </a:r>
            </a:p>
          </p:txBody>
        </p:sp>
        <p:grpSp>
          <p:nvGrpSpPr>
            <p:cNvPr id="113" name="Group 24">
              <a:extLst>
                <a:ext uri="{FF2B5EF4-FFF2-40B4-BE49-F238E27FC236}">
                  <a16:creationId xmlns:a16="http://schemas.microsoft.com/office/drawing/2014/main" id="{EDEB779B-5FD1-46BB-84E7-D72F84025D2D}"/>
                </a:ext>
              </a:extLst>
            </p:cNvPr>
            <p:cNvGrpSpPr/>
            <p:nvPr/>
          </p:nvGrpSpPr>
          <p:grpSpPr>
            <a:xfrm>
              <a:off x="678408" y="2790691"/>
              <a:ext cx="2470260" cy="974677"/>
              <a:chOff x="671293" y="4439310"/>
              <a:chExt cx="2470260" cy="974677"/>
            </a:xfrm>
          </p:grpSpPr>
          <p:sp>
            <p:nvSpPr>
              <p:cNvPr id="114" name="TextBox 123">
                <a:extLst>
                  <a:ext uri="{FF2B5EF4-FFF2-40B4-BE49-F238E27FC236}">
                    <a16:creationId xmlns:a16="http://schemas.microsoft.com/office/drawing/2014/main" id="{75ACB225-6445-453A-8918-7A878E8DEC13}"/>
                  </a:ext>
                </a:extLst>
              </p:cNvPr>
              <p:cNvSpPr txBox="1"/>
              <p:nvPr/>
            </p:nvSpPr>
            <p:spPr>
              <a:xfrm>
                <a:off x="731178" y="4767656"/>
                <a:ext cx="2410375" cy="646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jecting </a:t>
                </a: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re-made motivational message 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to body of message.</a:t>
                </a:r>
              </a:p>
              <a:p>
                <a:pPr algn="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ive different messages per trait</a:t>
                </a:r>
              </a:p>
            </p:txBody>
          </p:sp>
          <p:sp>
            <p:nvSpPr>
              <p:cNvPr id="115" name="TextBox 124">
                <a:extLst>
                  <a:ext uri="{FF2B5EF4-FFF2-40B4-BE49-F238E27FC236}">
                    <a16:creationId xmlns:a16="http://schemas.microsoft.com/office/drawing/2014/main" id="{94A7239A-A328-469D-B853-A2A573ED7649}"/>
                  </a:ext>
                </a:extLst>
              </p:cNvPr>
              <p:cNvSpPr txBox="1"/>
              <p:nvPr/>
            </p:nvSpPr>
            <p:spPr>
              <a:xfrm>
                <a:off x="671293" y="4439310"/>
                <a:ext cx="241037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2000" b="1" dirty="0">
                    <a:solidFill>
                      <a:srgbClr val="C81919"/>
                    </a:solidFill>
                    <a:latin typeface="Century Gothic" panose="020B0502020202020204" pitchFamily="34" charset="0"/>
                  </a:rPr>
                  <a:t>Message framing</a:t>
                </a:r>
                <a:endParaRPr lang="en-US" sz="2000" b="1" dirty="0">
                  <a:solidFill>
                    <a:srgbClr val="C81919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186475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roep 100">
            <a:extLst>
              <a:ext uri="{FF2B5EF4-FFF2-40B4-BE49-F238E27FC236}">
                <a16:creationId xmlns:a16="http://schemas.microsoft.com/office/drawing/2014/main" id="{B4F18855-800E-446D-BECE-2E10E1160344}"/>
              </a:ext>
            </a:extLst>
          </p:cNvPr>
          <p:cNvGrpSpPr/>
          <p:nvPr/>
        </p:nvGrpSpPr>
        <p:grpSpPr>
          <a:xfrm>
            <a:off x="7827732" y="3671020"/>
            <a:ext cx="67710" cy="1243813"/>
            <a:chOff x="6048462" y="3671020"/>
            <a:chExt cx="67710" cy="1243813"/>
          </a:xfrm>
        </p:grpSpPr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EC50764F-9EB4-404E-9D52-79314648339C}"/>
                </a:ext>
              </a:extLst>
            </p:cNvPr>
            <p:cNvCxnSpPr>
              <a:cxnSpLocks/>
            </p:cNvCxnSpPr>
            <p:nvPr/>
          </p:nvCxnSpPr>
          <p:spPr>
            <a:xfrm>
              <a:off x="6081518" y="3695866"/>
              <a:ext cx="1599" cy="1218967"/>
            </a:xfrm>
            <a:prstGeom prst="line">
              <a:avLst/>
            </a:prstGeom>
            <a:ln w="254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Ovaal 102">
              <a:extLst>
                <a:ext uri="{FF2B5EF4-FFF2-40B4-BE49-F238E27FC236}">
                  <a16:creationId xmlns:a16="http://schemas.microsoft.com/office/drawing/2014/main" id="{F09FFBD6-062F-4742-917C-B3391C8C0EEE}"/>
                </a:ext>
              </a:extLst>
            </p:cNvPr>
            <p:cNvSpPr/>
            <p:nvPr/>
          </p:nvSpPr>
          <p:spPr>
            <a:xfrm>
              <a:off x="6048462" y="3671020"/>
              <a:ext cx="67710" cy="67710"/>
            </a:xfrm>
            <a:prstGeom prst="ellipse">
              <a:avLst/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8495AE13-EEEA-4CB0-9C32-DFE988255A47}"/>
              </a:ext>
            </a:extLst>
          </p:cNvPr>
          <p:cNvGrpSpPr/>
          <p:nvPr/>
        </p:nvGrpSpPr>
        <p:grpSpPr>
          <a:xfrm>
            <a:off x="5194300" y="4381714"/>
            <a:ext cx="5347210" cy="1706485"/>
            <a:chOff x="1650490" y="3250758"/>
            <a:chExt cx="8891020" cy="2837441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770B2F9F-C7B1-486C-9CF2-F13E7F0E9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4568" y="4109787"/>
              <a:ext cx="1486942" cy="1119383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DE6F9AA-8AF1-46EB-9FFA-B55980CC3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372" y="3250758"/>
              <a:ext cx="2964138" cy="1718058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D92E8E10-7700-45AA-B23A-CE3702B6B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8632" y="3284172"/>
              <a:ext cx="2841618" cy="1651229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34DD6D16-2083-4C3E-BB1E-2BB4BD3AF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26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F4E29A15-9A6B-4FE0-AE76-E2B44B054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317" y="4109787"/>
              <a:ext cx="448310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026898BB-D26E-4226-BE51-14E9E02B6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3250758"/>
              <a:ext cx="2964138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B4ED6C9A-C4DA-49CC-B9CD-1DDDD2A3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750" y="328417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95EF641E-B809-4506-AF57-366CC8C1D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6C56836-065C-48CE-9F24-AB88E40EC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CC3F2265-3406-48E3-988D-C252081E9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690" y="4420263"/>
              <a:ext cx="316045" cy="526277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D5620D4-D161-47D1-BD84-1BAB21F03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8CA7D311-FF23-4946-AA44-F3D1BD764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58" y="4137196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C6F1C8CF-47F0-48C0-AD65-9735AC8BF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766" y="4968816"/>
              <a:ext cx="1475803" cy="1119383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DF028DBA-58C7-46B3-A060-668E871A2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968816"/>
              <a:ext cx="1488334" cy="1119383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1F2CD81E-6C5F-406B-BBEF-ACB67EF6B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454" y="4109787"/>
              <a:ext cx="446918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46927B09-7E04-44FB-A341-54C7035B1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043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C5555BAF-68C7-4DD0-9D91-023729370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628" y="3250758"/>
              <a:ext cx="2962745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2">
              <a:extLst>
                <a:ext uri="{FF2B5EF4-FFF2-40B4-BE49-F238E27FC236}">
                  <a16:creationId xmlns:a16="http://schemas.microsoft.com/office/drawing/2014/main" id="{4B933BD8-4FE6-48F6-99DD-C109D92B8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748" y="3314118"/>
              <a:ext cx="2843010" cy="1651229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rgbClr val="726C6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3">
              <a:extLst>
                <a:ext uri="{FF2B5EF4-FFF2-40B4-BE49-F238E27FC236}">
                  <a16:creationId xmlns:a16="http://schemas.microsoft.com/office/drawing/2014/main" id="{132692C6-8DD0-48F0-BF4B-9333FB05F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">
              <a:extLst>
                <a:ext uri="{FF2B5EF4-FFF2-40B4-BE49-F238E27FC236}">
                  <a16:creationId xmlns:a16="http://schemas.microsoft.com/office/drawing/2014/main" id="{53ED98FA-3970-488C-AA1A-75A8C28BD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829" y="414320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">
              <a:extLst>
                <a:ext uri="{FF2B5EF4-FFF2-40B4-BE49-F238E27FC236}">
                  <a16:creationId xmlns:a16="http://schemas.microsoft.com/office/drawing/2014/main" id="{62EF4283-B385-4A2D-9FEC-0D6243BD5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511" y="4968816"/>
              <a:ext cx="1477196" cy="1119383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">
              <a:extLst>
                <a:ext uri="{FF2B5EF4-FFF2-40B4-BE49-F238E27FC236}">
                  <a16:creationId xmlns:a16="http://schemas.microsoft.com/office/drawing/2014/main" id="{8100605E-AEA5-4AD9-8F5D-103897614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968816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588C1561-4A31-497B-8390-4D03870D16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5634" y="3715841"/>
              <a:ext cx="684000" cy="684000"/>
            </a:xfrm>
            <a:prstGeom prst="rect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5" name="Rechthoek 134">
              <a:extLst>
                <a:ext uri="{FF2B5EF4-FFF2-40B4-BE49-F238E27FC236}">
                  <a16:creationId xmlns:a16="http://schemas.microsoft.com/office/drawing/2014/main" id="{A1C1FB3D-6FE5-4444-80DF-6D1C56178D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80435" y="4666865"/>
              <a:ext cx="684000" cy="68400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04A9B99D-8E0B-466A-9B35-A2A3122D04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96320" y="3667536"/>
              <a:ext cx="684000" cy="684000"/>
            </a:xfrm>
            <a:prstGeom prst="rect">
              <a:avLst/>
            </a:prstGeom>
            <a:blipFill dpi="0" rotWithShape="1">
              <a:blip r:embed="rId6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BDEB8877-462A-49C4-98C8-4DEE3FAD5B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1556" y="4695476"/>
              <a:ext cx="684000" cy="684000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8" name="Rechthoek 137">
              <a:extLst>
                <a:ext uri="{FF2B5EF4-FFF2-40B4-BE49-F238E27FC236}">
                  <a16:creationId xmlns:a16="http://schemas.microsoft.com/office/drawing/2014/main" id="{8A9B7D44-C701-4EB3-AE2C-2CE42B8022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0265" y="3667536"/>
              <a:ext cx="684000" cy="684000"/>
            </a:xfrm>
            <a:prstGeom prst="rect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104" name="Rechthoek: afgeronde hoeken 103">
            <a:extLst>
              <a:ext uri="{FF2B5EF4-FFF2-40B4-BE49-F238E27FC236}">
                <a16:creationId xmlns:a16="http://schemas.microsoft.com/office/drawing/2014/main" id="{DB73BC76-E231-4053-810D-FC33456E9CE6}"/>
              </a:ext>
            </a:extLst>
          </p:cNvPr>
          <p:cNvSpPr/>
          <p:nvPr/>
        </p:nvSpPr>
        <p:spPr>
          <a:xfrm>
            <a:off x="5631951" y="1156686"/>
            <a:ext cx="4400550" cy="2357582"/>
          </a:xfrm>
          <a:prstGeom prst="roundRect">
            <a:avLst/>
          </a:prstGeom>
          <a:noFill/>
          <a:ln w="254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30549A64-742F-4B6D-A33F-06D6701D3B1D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MA Design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F1B8F449-DB27-4863-A723-9DF56730E8A2}"/>
              </a:ext>
            </a:extLst>
          </p:cNvPr>
          <p:cNvGrpSpPr/>
          <p:nvPr/>
        </p:nvGrpSpPr>
        <p:grpSpPr>
          <a:xfrm>
            <a:off x="1112964" y="2527263"/>
            <a:ext cx="2803522" cy="1668992"/>
            <a:chOff x="678408" y="2527263"/>
            <a:chExt cx="2803522" cy="1668992"/>
          </a:xfrm>
        </p:grpSpPr>
        <p:sp>
          <p:nvSpPr>
            <p:cNvPr id="112" name="TextBox 18">
              <a:extLst>
                <a:ext uri="{FF2B5EF4-FFF2-40B4-BE49-F238E27FC236}">
                  <a16:creationId xmlns:a16="http://schemas.microsoft.com/office/drawing/2014/main" id="{3B769774-8EEF-47A5-98BE-DA0B51ED695B}"/>
                </a:ext>
              </a:extLst>
            </p:cNvPr>
            <p:cNvSpPr txBox="1"/>
            <p:nvPr/>
          </p:nvSpPr>
          <p:spPr>
            <a:xfrm>
              <a:off x="2883115" y="2527263"/>
              <a:ext cx="598815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0" b="1" dirty="0">
                  <a:solidFill>
                    <a:srgbClr val="C81919">
                      <a:alpha val="20000"/>
                    </a:srgbClr>
                  </a:solidFill>
                </a:rPr>
                <a:t>C</a:t>
              </a:r>
            </a:p>
          </p:txBody>
        </p:sp>
        <p:grpSp>
          <p:nvGrpSpPr>
            <p:cNvPr id="113" name="Group 24">
              <a:extLst>
                <a:ext uri="{FF2B5EF4-FFF2-40B4-BE49-F238E27FC236}">
                  <a16:creationId xmlns:a16="http://schemas.microsoft.com/office/drawing/2014/main" id="{929BDCDA-0F74-4A01-8F83-7719B0968133}"/>
                </a:ext>
              </a:extLst>
            </p:cNvPr>
            <p:cNvGrpSpPr/>
            <p:nvPr/>
          </p:nvGrpSpPr>
          <p:grpSpPr>
            <a:xfrm>
              <a:off x="678408" y="2790691"/>
              <a:ext cx="2470260" cy="1405564"/>
              <a:chOff x="671293" y="4439310"/>
              <a:chExt cx="2470260" cy="1405564"/>
            </a:xfrm>
          </p:grpSpPr>
          <p:sp>
            <p:nvSpPr>
              <p:cNvPr id="114" name="TextBox 123">
                <a:extLst>
                  <a:ext uri="{FF2B5EF4-FFF2-40B4-BE49-F238E27FC236}">
                    <a16:creationId xmlns:a16="http://schemas.microsoft.com/office/drawing/2014/main" id="{86DD2AD6-DCB8-46D9-87EF-2F3E95AFE80A}"/>
                  </a:ext>
                </a:extLst>
              </p:cNvPr>
              <p:cNvSpPr txBox="1"/>
              <p:nvPr/>
            </p:nvSpPr>
            <p:spPr>
              <a:xfrm>
                <a:off x="731178" y="4767656"/>
                <a:ext cx="2410375" cy="107721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ombination of Randomized probability matching and James Stein Shrinkage. Effectively </a:t>
                </a: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ixing profiles and taking draws 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rom the distributions.</a:t>
                </a:r>
              </a:p>
            </p:txBody>
          </p:sp>
          <p:sp>
            <p:nvSpPr>
              <p:cNvPr id="115" name="TextBox 124">
                <a:extLst>
                  <a:ext uri="{FF2B5EF4-FFF2-40B4-BE49-F238E27FC236}">
                    <a16:creationId xmlns:a16="http://schemas.microsoft.com/office/drawing/2014/main" id="{D748525D-E6CD-4DC6-B630-58896CB1893E}"/>
                  </a:ext>
                </a:extLst>
              </p:cNvPr>
              <p:cNvSpPr txBox="1"/>
              <p:nvPr/>
            </p:nvSpPr>
            <p:spPr>
              <a:xfrm>
                <a:off x="671293" y="4439310"/>
                <a:ext cx="241037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2000" b="1" dirty="0">
                    <a:solidFill>
                      <a:srgbClr val="C81919"/>
                    </a:solidFill>
                    <a:latin typeface="Century Gothic" panose="020B0502020202020204" pitchFamily="34" charset="0"/>
                  </a:rPr>
                  <a:t>Strategy selection</a:t>
                </a:r>
                <a:endParaRPr lang="en-US" sz="2000" b="1" dirty="0">
                  <a:solidFill>
                    <a:srgbClr val="C81919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grpSp>
        <p:nvGrpSpPr>
          <p:cNvPr id="26" name="Groep 25">
            <a:extLst>
              <a:ext uri="{FF2B5EF4-FFF2-40B4-BE49-F238E27FC236}">
                <a16:creationId xmlns:a16="http://schemas.microsoft.com/office/drawing/2014/main" id="{67A5153E-4007-43CA-AD07-B61495C6A74D}"/>
              </a:ext>
            </a:extLst>
          </p:cNvPr>
          <p:cNvGrpSpPr/>
          <p:nvPr/>
        </p:nvGrpSpPr>
        <p:grpSpPr>
          <a:xfrm>
            <a:off x="5988076" y="1335249"/>
            <a:ext cx="735468" cy="2000457"/>
            <a:chOff x="5988076" y="1335249"/>
            <a:chExt cx="735468" cy="2000457"/>
          </a:xfrm>
        </p:grpSpPr>
        <p:grpSp>
          <p:nvGrpSpPr>
            <p:cNvPr id="17" name="Groep 16">
              <a:extLst>
                <a:ext uri="{FF2B5EF4-FFF2-40B4-BE49-F238E27FC236}">
                  <a16:creationId xmlns:a16="http://schemas.microsoft.com/office/drawing/2014/main" id="{7D486CC9-CC72-4E78-8520-2EE94F71CA01}"/>
                </a:ext>
              </a:extLst>
            </p:cNvPr>
            <p:cNvGrpSpPr/>
            <p:nvPr/>
          </p:nvGrpSpPr>
          <p:grpSpPr>
            <a:xfrm>
              <a:off x="5988076" y="1335249"/>
              <a:ext cx="735468" cy="755752"/>
              <a:chOff x="5988076" y="1250848"/>
              <a:chExt cx="735468" cy="755752"/>
            </a:xfrm>
          </p:grpSpPr>
          <p:grpSp>
            <p:nvGrpSpPr>
              <p:cNvPr id="6" name="Groep 5">
                <a:extLst>
                  <a:ext uri="{FF2B5EF4-FFF2-40B4-BE49-F238E27FC236}">
                    <a16:creationId xmlns:a16="http://schemas.microsoft.com/office/drawing/2014/main" id="{8878D717-1211-4841-8457-BE8AF5C30BB0}"/>
                  </a:ext>
                </a:extLst>
              </p:cNvPr>
              <p:cNvGrpSpPr/>
              <p:nvPr/>
            </p:nvGrpSpPr>
            <p:grpSpPr>
              <a:xfrm>
                <a:off x="6085397" y="1460500"/>
                <a:ext cx="546100" cy="546100"/>
                <a:chOff x="6085397" y="1460500"/>
                <a:chExt cx="546100" cy="546100"/>
              </a:xfrm>
            </p:grpSpPr>
            <p:cxnSp>
              <p:nvCxnSpPr>
                <p:cNvPr id="3" name="Rechte verbindingslijn 2">
                  <a:extLst>
                    <a:ext uri="{FF2B5EF4-FFF2-40B4-BE49-F238E27FC236}">
                      <a16:creationId xmlns:a16="http://schemas.microsoft.com/office/drawing/2014/main" id="{DF848938-FBE7-4FB5-94E1-D1E61F8B3D22}"/>
                    </a:ext>
                  </a:extLst>
                </p:cNvPr>
                <p:cNvCxnSpPr/>
                <p:nvPr/>
              </p:nvCxnSpPr>
              <p:spPr>
                <a:xfrm>
                  <a:off x="6088572" y="1460500"/>
                  <a:ext cx="0" cy="546100"/>
                </a:xfrm>
                <a:prstGeom prst="line">
                  <a:avLst/>
                </a:prstGeom>
                <a:ln w="127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Rechte verbindingslijn 115">
                  <a:extLst>
                    <a:ext uri="{FF2B5EF4-FFF2-40B4-BE49-F238E27FC236}">
                      <a16:creationId xmlns:a16="http://schemas.microsoft.com/office/drawing/2014/main" id="{7C3B8957-A69C-4EAD-BEAB-26E3B2D30B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358447" y="1730375"/>
                  <a:ext cx="0" cy="546100"/>
                </a:xfrm>
                <a:prstGeom prst="line">
                  <a:avLst/>
                </a:prstGeom>
                <a:ln w="127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" name="Vrije vorm: vorm 13">
                <a:extLst>
                  <a:ext uri="{FF2B5EF4-FFF2-40B4-BE49-F238E27FC236}">
                    <a16:creationId xmlns:a16="http://schemas.microsoft.com/office/drawing/2014/main" id="{C70BE636-C36A-4930-9855-37F0075E03CA}"/>
                  </a:ext>
                </a:extLst>
              </p:cNvPr>
              <p:cNvSpPr/>
              <p:nvPr/>
            </p:nvSpPr>
            <p:spPr>
              <a:xfrm>
                <a:off x="6083300" y="1651000"/>
                <a:ext cx="542925" cy="158750"/>
              </a:xfrm>
              <a:custGeom>
                <a:avLst/>
                <a:gdLst>
                  <a:gd name="connsiteX0" fmla="*/ 0 w 542925"/>
                  <a:gd name="connsiteY0" fmla="*/ 158750 h 158750"/>
                  <a:gd name="connsiteX1" fmla="*/ 282575 w 542925"/>
                  <a:gd name="connsiteY1" fmla="*/ 0 h 158750"/>
                  <a:gd name="connsiteX2" fmla="*/ 542925 w 542925"/>
                  <a:gd name="connsiteY2" fmla="*/ 158750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2925" h="158750">
                    <a:moveTo>
                      <a:pt x="0" y="158750"/>
                    </a:moveTo>
                    <a:cubicBezTo>
                      <a:pt x="96044" y="79375"/>
                      <a:pt x="192088" y="0"/>
                      <a:pt x="282575" y="0"/>
                    </a:cubicBezTo>
                    <a:cubicBezTo>
                      <a:pt x="373062" y="0"/>
                      <a:pt x="508000" y="152400"/>
                      <a:pt x="542925" y="158750"/>
                    </a:cubicBezTo>
                  </a:path>
                </a:pathLst>
              </a:custGeom>
              <a:noFill/>
              <a:ln w="19050">
                <a:solidFill>
                  <a:srgbClr val="C8191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AB6D8B16-49E1-4459-BED7-59225A208CC7}"/>
                  </a:ext>
                </a:extLst>
              </p:cNvPr>
              <p:cNvSpPr txBox="1"/>
              <p:nvPr/>
            </p:nvSpPr>
            <p:spPr>
              <a:xfrm>
                <a:off x="5988076" y="1250848"/>
                <a:ext cx="735468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1200" b="1" dirty="0">
                    <a:solidFill>
                      <a:srgbClr val="726C6C"/>
                    </a:solidFill>
                    <a:latin typeface="Century Gothic" panose="020B0502020202020204" pitchFamily="34" charset="0"/>
                  </a:rPr>
                  <a:t>Individual</a:t>
                </a:r>
                <a:endParaRPr lang="en-US" sz="2000" b="1" dirty="0">
                  <a:solidFill>
                    <a:srgbClr val="726C6C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18" name="Groep 17">
              <a:extLst>
                <a:ext uri="{FF2B5EF4-FFF2-40B4-BE49-F238E27FC236}">
                  <a16:creationId xmlns:a16="http://schemas.microsoft.com/office/drawing/2014/main" id="{6865FA0A-9190-4736-8AC4-8DF63AB89EAE}"/>
                </a:ext>
              </a:extLst>
            </p:cNvPr>
            <p:cNvGrpSpPr/>
            <p:nvPr/>
          </p:nvGrpSpPr>
          <p:grpSpPr>
            <a:xfrm>
              <a:off x="6024168" y="2579953"/>
              <a:ext cx="663285" cy="755753"/>
              <a:chOff x="6024168" y="2347899"/>
              <a:chExt cx="663285" cy="755753"/>
            </a:xfrm>
          </p:grpSpPr>
          <p:grpSp>
            <p:nvGrpSpPr>
              <p:cNvPr id="121" name="Groep 120">
                <a:extLst>
                  <a:ext uri="{FF2B5EF4-FFF2-40B4-BE49-F238E27FC236}">
                    <a16:creationId xmlns:a16="http://schemas.microsoft.com/office/drawing/2014/main" id="{2F7CBD6E-C87E-41E1-93F4-91E5DE422812}"/>
                  </a:ext>
                </a:extLst>
              </p:cNvPr>
              <p:cNvGrpSpPr/>
              <p:nvPr/>
            </p:nvGrpSpPr>
            <p:grpSpPr>
              <a:xfrm>
                <a:off x="6083300" y="2557552"/>
                <a:ext cx="546100" cy="546100"/>
                <a:chOff x="6085397" y="1460500"/>
                <a:chExt cx="546100" cy="546100"/>
              </a:xfrm>
            </p:grpSpPr>
            <p:cxnSp>
              <p:nvCxnSpPr>
                <p:cNvPr id="122" name="Rechte verbindingslijn 121">
                  <a:extLst>
                    <a:ext uri="{FF2B5EF4-FFF2-40B4-BE49-F238E27FC236}">
                      <a16:creationId xmlns:a16="http://schemas.microsoft.com/office/drawing/2014/main" id="{08129F68-D6B0-41F3-9E67-B041C53D1FEE}"/>
                    </a:ext>
                  </a:extLst>
                </p:cNvPr>
                <p:cNvCxnSpPr/>
                <p:nvPr/>
              </p:nvCxnSpPr>
              <p:spPr>
                <a:xfrm>
                  <a:off x="6088572" y="1460500"/>
                  <a:ext cx="0" cy="546100"/>
                </a:xfrm>
                <a:prstGeom prst="line">
                  <a:avLst/>
                </a:prstGeom>
                <a:ln w="127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>
                  <a:extLst>
                    <a:ext uri="{FF2B5EF4-FFF2-40B4-BE49-F238E27FC236}">
                      <a16:creationId xmlns:a16="http://schemas.microsoft.com/office/drawing/2014/main" id="{8EE9EC2B-1204-4737-B053-693EED28A8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6358447" y="1730375"/>
                  <a:ext cx="0" cy="546100"/>
                </a:xfrm>
                <a:prstGeom prst="line">
                  <a:avLst/>
                </a:prstGeom>
                <a:ln w="127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6" name="Vrije vorm: vorm 15">
                <a:extLst>
                  <a:ext uri="{FF2B5EF4-FFF2-40B4-BE49-F238E27FC236}">
                    <a16:creationId xmlns:a16="http://schemas.microsoft.com/office/drawing/2014/main" id="{46FA852B-BF96-4A5B-B24F-D1BC781996D2}"/>
                  </a:ext>
                </a:extLst>
              </p:cNvPr>
              <p:cNvSpPr/>
              <p:nvPr/>
            </p:nvSpPr>
            <p:spPr>
              <a:xfrm>
                <a:off x="6086475" y="2676525"/>
                <a:ext cx="539750" cy="257837"/>
              </a:xfrm>
              <a:custGeom>
                <a:avLst/>
                <a:gdLst>
                  <a:gd name="connsiteX0" fmla="*/ 0 w 539750"/>
                  <a:gd name="connsiteY0" fmla="*/ 231775 h 257837"/>
                  <a:gd name="connsiteX1" fmla="*/ 231775 w 539750"/>
                  <a:gd name="connsiteY1" fmla="*/ 231775 h 257837"/>
                  <a:gd name="connsiteX2" fmla="*/ 336550 w 539750"/>
                  <a:gd name="connsiteY2" fmla="*/ 0 h 257837"/>
                  <a:gd name="connsiteX3" fmla="*/ 396875 w 539750"/>
                  <a:gd name="connsiteY3" fmla="*/ 231775 h 257837"/>
                  <a:gd name="connsiteX4" fmla="*/ 539750 w 539750"/>
                  <a:gd name="connsiteY4" fmla="*/ 234950 h 257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9750" h="257837">
                    <a:moveTo>
                      <a:pt x="0" y="231775"/>
                    </a:moveTo>
                    <a:cubicBezTo>
                      <a:pt x="87841" y="251089"/>
                      <a:pt x="175683" y="270404"/>
                      <a:pt x="231775" y="231775"/>
                    </a:cubicBezTo>
                    <a:cubicBezTo>
                      <a:pt x="287867" y="193146"/>
                      <a:pt x="309033" y="0"/>
                      <a:pt x="336550" y="0"/>
                    </a:cubicBezTo>
                    <a:cubicBezTo>
                      <a:pt x="364067" y="0"/>
                      <a:pt x="363008" y="192617"/>
                      <a:pt x="396875" y="231775"/>
                    </a:cubicBezTo>
                    <a:cubicBezTo>
                      <a:pt x="430742" y="270933"/>
                      <a:pt x="489479" y="260879"/>
                      <a:pt x="539750" y="234950"/>
                    </a:cubicBezTo>
                  </a:path>
                </a:pathLst>
              </a:custGeom>
              <a:noFill/>
              <a:ln w="19050">
                <a:solidFill>
                  <a:srgbClr val="C8191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127" name="TextBox 124">
                <a:extLst>
                  <a:ext uri="{FF2B5EF4-FFF2-40B4-BE49-F238E27FC236}">
                    <a16:creationId xmlns:a16="http://schemas.microsoft.com/office/drawing/2014/main" id="{5A04AE0D-D1B6-486D-8679-8C1B989F6D6E}"/>
                  </a:ext>
                </a:extLst>
              </p:cNvPr>
              <p:cNvSpPr txBox="1"/>
              <p:nvPr/>
            </p:nvSpPr>
            <p:spPr>
              <a:xfrm>
                <a:off x="6024168" y="2347899"/>
                <a:ext cx="663285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1200" b="1" dirty="0">
                    <a:solidFill>
                      <a:srgbClr val="726C6C"/>
                    </a:solidFill>
                    <a:latin typeface="Century Gothic" panose="020B0502020202020204" pitchFamily="34" charset="0"/>
                  </a:rPr>
                  <a:t>Average</a:t>
                </a:r>
                <a:endParaRPr lang="en-US" sz="2000" b="1" dirty="0">
                  <a:solidFill>
                    <a:srgbClr val="726C6C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grpSp>
        <p:nvGrpSpPr>
          <p:cNvPr id="129" name="Groep 128">
            <a:extLst>
              <a:ext uri="{FF2B5EF4-FFF2-40B4-BE49-F238E27FC236}">
                <a16:creationId xmlns:a16="http://schemas.microsoft.com/office/drawing/2014/main" id="{C25226FE-586C-4C0D-AAFF-F40D5AB377B1}"/>
              </a:ext>
            </a:extLst>
          </p:cNvPr>
          <p:cNvGrpSpPr/>
          <p:nvPr/>
        </p:nvGrpSpPr>
        <p:grpSpPr>
          <a:xfrm>
            <a:off x="7365045" y="1952709"/>
            <a:ext cx="765537" cy="765537"/>
            <a:chOff x="6085397" y="1460500"/>
            <a:chExt cx="546100" cy="546100"/>
          </a:xfrm>
        </p:grpSpPr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56B58721-BCA3-46E7-8C21-3CC8088318BD}"/>
                </a:ext>
              </a:extLst>
            </p:cNvPr>
            <p:cNvCxnSpPr/>
            <p:nvPr/>
          </p:nvCxnSpPr>
          <p:spPr>
            <a:xfrm>
              <a:off x="6088572" y="1460500"/>
              <a:ext cx="0" cy="54610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Rechte verbindingslijn 132">
              <a:extLst>
                <a:ext uri="{FF2B5EF4-FFF2-40B4-BE49-F238E27FC236}">
                  <a16:creationId xmlns:a16="http://schemas.microsoft.com/office/drawing/2014/main" id="{C4296B23-9C65-4F20-BDF6-CAB15FBEE12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358447" y="1730375"/>
              <a:ext cx="0" cy="54610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Vrije vorm: vorm 29">
            <a:extLst>
              <a:ext uri="{FF2B5EF4-FFF2-40B4-BE49-F238E27FC236}">
                <a16:creationId xmlns:a16="http://schemas.microsoft.com/office/drawing/2014/main" id="{6ABA42D6-BC76-494D-B113-13E52BC10BE9}"/>
              </a:ext>
            </a:extLst>
          </p:cNvPr>
          <p:cNvSpPr/>
          <p:nvPr/>
        </p:nvSpPr>
        <p:spPr>
          <a:xfrm>
            <a:off x="7369175" y="2241550"/>
            <a:ext cx="762000" cy="198389"/>
          </a:xfrm>
          <a:custGeom>
            <a:avLst/>
            <a:gdLst>
              <a:gd name="connsiteX0" fmla="*/ 0 w 762000"/>
              <a:gd name="connsiteY0" fmla="*/ 180975 h 198389"/>
              <a:gd name="connsiteX1" fmla="*/ 187325 w 762000"/>
              <a:gd name="connsiteY1" fmla="*/ 180975 h 198389"/>
              <a:gd name="connsiteX2" fmla="*/ 533400 w 762000"/>
              <a:gd name="connsiteY2" fmla="*/ 0 h 198389"/>
              <a:gd name="connsiteX3" fmla="*/ 762000 w 762000"/>
              <a:gd name="connsiteY3" fmla="*/ 180975 h 198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2000" h="198389">
                <a:moveTo>
                  <a:pt x="0" y="180975"/>
                </a:moveTo>
                <a:cubicBezTo>
                  <a:pt x="49212" y="196056"/>
                  <a:pt x="98425" y="211137"/>
                  <a:pt x="187325" y="180975"/>
                </a:cubicBezTo>
                <a:cubicBezTo>
                  <a:pt x="276225" y="150813"/>
                  <a:pt x="437621" y="0"/>
                  <a:pt x="533400" y="0"/>
                </a:cubicBezTo>
                <a:cubicBezTo>
                  <a:pt x="629179" y="0"/>
                  <a:pt x="652463" y="177800"/>
                  <a:pt x="762000" y="180975"/>
                </a:cubicBezTo>
              </a:path>
            </a:pathLst>
          </a:custGeom>
          <a:noFill/>
          <a:ln w="19050">
            <a:solidFill>
              <a:srgbClr val="C8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34" name="Groep 133">
            <a:extLst>
              <a:ext uri="{FF2B5EF4-FFF2-40B4-BE49-F238E27FC236}">
                <a16:creationId xmlns:a16="http://schemas.microsoft.com/office/drawing/2014/main" id="{5F8B0A94-EBA3-4F51-90EB-7072253EAD3F}"/>
              </a:ext>
            </a:extLst>
          </p:cNvPr>
          <p:cNvGrpSpPr/>
          <p:nvPr/>
        </p:nvGrpSpPr>
        <p:grpSpPr>
          <a:xfrm>
            <a:off x="6492585" y="2229858"/>
            <a:ext cx="759491" cy="271695"/>
            <a:chOff x="6492585" y="2272885"/>
            <a:chExt cx="759491" cy="271695"/>
          </a:xfrm>
        </p:grpSpPr>
        <p:grpSp>
          <p:nvGrpSpPr>
            <p:cNvPr id="33" name="Groep 32">
              <a:extLst>
                <a:ext uri="{FF2B5EF4-FFF2-40B4-BE49-F238E27FC236}">
                  <a16:creationId xmlns:a16="http://schemas.microsoft.com/office/drawing/2014/main" id="{F392924D-BA53-46F2-A119-0BA2F1C66AD3}"/>
                </a:ext>
              </a:extLst>
            </p:cNvPr>
            <p:cNvGrpSpPr/>
            <p:nvPr/>
          </p:nvGrpSpPr>
          <p:grpSpPr>
            <a:xfrm>
              <a:off x="6492585" y="2272885"/>
              <a:ext cx="759491" cy="268391"/>
              <a:chOff x="6492585" y="2248700"/>
              <a:chExt cx="759491" cy="268391"/>
            </a:xfrm>
          </p:grpSpPr>
          <p:sp>
            <p:nvSpPr>
              <p:cNvPr id="31" name="Pijl: rechts 30">
                <a:extLst>
                  <a:ext uri="{FF2B5EF4-FFF2-40B4-BE49-F238E27FC236}">
                    <a16:creationId xmlns:a16="http://schemas.microsoft.com/office/drawing/2014/main" id="{97B78CFE-99A6-4F2F-A54F-A88077A32201}"/>
                  </a:ext>
                </a:extLst>
              </p:cNvPr>
              <p:cNvSpPr/>
              <p:nvPr/>
            </p:nvSpPr>
            <p:spPr>
              <a:xfrm>
                <a:off x="6628203" y="2248700"/>
                <a:ext cx="623873" cy="268391"/>
              </a:xfrm>
              <a:prstGeom prst="rightArrow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dirty="0"/>
              </a:p>
            </p:txBody>
          </p:sp>
          <p:sp>
            <p:nvSpPr>
              <p:cNvPr id="144" name="TextBox 124">
                <a:extLst>
                  <a:ext uri="{FF2B5EF4-FFF2-40B4-BE49-F238E27FC236}">
                    <a16:creationId xmlns:a16="http://schemas.microsoft.com/office/drawing/2014/main" id="{7B90F222-EFA2-4D84-B497-A9E73EC96BF0}"/>
                  </a:ext>
                </a:extLst>
              </p:cNvPr>
              <p:cNvSpPr txBox="1"/>
              <p:nvPr/>
            </p:nvSpPr>
            <p:spPr>
              <a:xfrm>
                <a:off x="6492585" y="2319265"/>
                <a:ext cx="62387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800" b="1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COMBINE</a:t>
                </a:r>
                <a:endPara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C9C9CC35-B355-4756-90C4-BDB0BC0FE2EB}"/>
                </a:ext>
              </a:extLst>
            </p:cNvPr>
            <p:cNvSpPr/>
            <p:nvPr/>
          </p:nvSpPr>
          <p:spPr>
            <a:xfrm rot="5400000">
              <a:off x="6435298" y="2348832"/>
              <a:ext cx="268389" cy="123108"/>
            </a:xfrm>
            <a:prstGeom prst="rect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146" name="Pijl: rechts 145">
            <a:extLst>
              <a:ext uri="{FF2B5EF4-FFF2-40B4-BE49-F238E27FC236}">
                <a16:creationId xmlns:a16="http://schemas.microsoft.com/office/drawing/2014/main" id="{E0FF3FBA-211D-4F9E-BD1C-3E518FCBA4E9}"/>
              </a:ext>
            </a:extLst>
          </p:cNvPr>
          <p:cNvSpPr/>
          <p:nvPr/>
        </p:nvSpPr>
        <p:spPr>
          <a:xfrm>
            <a:off x="8360414" y="2233249"/>
            <a:ext cx="446328" cy="268391"/>
          </a:xfrm>
          <a:prstGeom prst="rightArrow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147" name="TextBox 124">
            <a:extLst>
              <a:ext uri="{FF2B5EF4-FFF2-40B4-BE49-F238E27FC236}">
                <a16:creationId xmlns:a16="http://schemas.microsoft.com/office/drawing/2014/main" id="{26B521B4-1FCB-4DBC-A36B-207EF2CBD9C6}"/>
              </a:ext>
            </a:extLst>
          </p:cNvPr>
          <p:cNvSpPr txBox="1"/>
          <p:nvPr/>
        </p:nvSpPr>
        <p:spPr>
          <a:xfrm>
            <a:off x="9009774" y="2236639"/>
            <a:ext cx="905805" cy="2616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700" b="1" i="1" dirty="0">
                <a:solidFill>
                  <a:schemeClr val="bg2">
                    <a:lumMod val="75000"/>
                  </a:schemeClr>
                </a:solidFill>
                <a:latin typeface="Century Gothic" panose="020B0502020202020204" pitchFamily="34" charset="0"/>
              </a:rPr>
              <a:t>Chosen strategy:</a:t>
            </a:r>
          </a:p>
          <a:p>
            <a:pPr algn="r"/>
            <a:r>
              <a:rPr lang="da-DK" sz="10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EXTRAVERSION</a:t>
            </a:r>
            <a:endParaRPr lang="en-US" sz="1400" b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8" name="TextBox 124">
            <a:extLst>
              <a:ext uri="{FF2B5EF4-FFF2-40B4-BE49-F238E27FC236}">
                <a16:creationId xmlns:a16="http://schemas.microsoft.com/office/drawing/2014/main" id="{66DDD444-A760-40F5-BA93-878E17F63D5E}"/>
              </a:ext>
            </a:extLst>
          </p:cNvPr>
          <p:cNvSpPr txBox="1"/>
          <p:nvPr/>
        </p:nvSpPr>
        <p:spPr>
          <a:xfrm>
            <a:off x="8386757" y="2305889"/>
            <a:ext cx="30490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RAW</a:t>
            </a:r>
            <a:endParaRPr lang="en-US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0846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roep 100">
            <a:extLst>
              <a:ext uri="{FF2B5EF4-FFF2-40B4-BE49-F238E27FC236}">
                <a16:creationId xmlns:a16="http://schemas.microsoft.com/office/drawing/2014/main" id="{8A6F1BC0-22E6-425B-8B54-148BFEA6273A}"/>
              </a:ext>
            </a:extLst>
          </p:cNvPr>
          <p:cNvGrpSpPr/>
          <p:nvPr/>
        </p:nvGrpSpPr>
        <p:grpSpPr>
          <a:xfrm>
            <a:off x="8718167" y="3671020"/>
            <a:ext cx="67710" cy="1243813"/>
            <a:chOff x="6048462" y="3671020"/>
            <a:chExt cx="67710" cy="1243813"/>
          </a:xfrm>
        </p:grpSpPr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FB498086-19B0-4A3A-A6E0-E100DFAD6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81518" y="3695866"/>
              <a:ext cx="1599" cy="1218967"/>
            </a:xfrm>
            <a:prstGeom prst="line">
              <a:avLst/>
            </a:prstGeom>
            <a:ln w="254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Ovaal 102">
              <a:extLst>
                <a:ext uri="{FF2B5EF4-FFF2-40B4-BE49-F238E27FC236}">
                  <a16:creationId xmlns:a16="http://schemas.microsoft.com/office/drawing/2014/main" id="{9355C624-1EC1-4745-913B-F3A3BE2174D6}"/>
                </a:ext>
              </a:extLst>
            </p:cNvPr>
            <p:cNvSpPr/>
            <p:nvPr/>
          </p:nvSpPr>
          <p:spPr>
            <a:xfrm>
              <a:off x="6048462" y="3671020"/>
              <a:ext cx="67710" cy="67710"/>
            </a:xfrm>
            <a:prstGeom prst="ellipse">
              <a:avLst/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8495AE13-EEEA-4CB0-9C32-DFE988255A47}"/>
              </a:ext>
            </a:extLst>
          </p:cNvPr>
          <p:cNvGrpSpPr/>
          <p:nvPr/>
        </p:nvGrpSpPr>
        <p:grpSpPr>
          <a:xfrm>
            <a:off x="5194300" y="4381714"/>
            <a:ext cx="5347210" cy="1706485"/>
            <a:chOff x="1650490" y="3250758"/>
            <a:chExt cx="8891020" cy="2837441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770B2F9F-C7B1-486C-9CF2-F13E7F0E9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4568" y="4109787"/>
              <a:ext cx="1486942" cy="1119383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DE6F9AA-8AF1-46EB-9FFA-B55980CC3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372" y="3250758"/>
              <a:ext cx="2964138" cy="1718058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D92E8E10-7700-45AA-B23A-CE3702B6B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8632" y="3284172"/>
              <a:ext cx="2841618" cy="1651229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34DD6D16-2083-4C3E-BB1E-2BB4BD3AF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26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F4E29A15-9A6B-4FE0-AE76-E2B44B054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317" y="4109787"/>
              <a:ext cx="448310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026898BB-D26E-4226-BE51-14E9E02B6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3250758"/>
              <a:ext cx="2964138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B4ED6C9A-C4DA-49CC-B9CD-1DDDD2A3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750" y="328417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95EF641E-B809-4506-AF57-366CC8C1D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6C56836-065C-48CE-9F24-AB88E40EC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CC3F2265-3406-48E3-988D-C252081E9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690" y="4420263"/>
              <a:ext cx="316045" cy="526277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D5620D4-D161-47D1-BD84-1BAB21F03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8CA7D311-FF23-4946-AA44-F3D1BD764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58" y="4137196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C6F1C8CF-47F0-48C0-AD65-9735AC8BF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766" y="4968816"/>
              <a:ext cx="1475803" cy="1119383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DF028DBA-58C7-46B3-A060-668E871A2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968816"/>
              <a:ext cx="1488334" cy="1119383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1F2CD81E-6C5F-406B-BBEF-ACB67EF6B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454" y="4109787"/>
              <a:ext cx="446918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46927B09-7E04-44FB-A341-54C7035B1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043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C5555BAF-68C7-4DD0-9D91-023729370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628" y="3250758"/>
              <a:ext cx="2962745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2">
              <a:extLst>
                <a:ext uri="{FF2B5EF4-FFF2-40B4-BE49-F238E27FC236}">
                  <a16:creationId xmlns:a16="http://schemas.microsoft.com/office/drawing/2014/main" id="{4B933BD8-4FE6-48F6-99DD-C109D92B8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748" y="3314118"/>
              <a:ext cx="2843010" cy="1651229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3">
              <a:extLst>
                <a:ext uri="{FF2B5EF4-FFF2-40B4-BE49-F238E27FC236}">
                  <a16:creationId xmlns:a16="http://schemas.microsoft.com/office/drawing/2014/main" id="{132692C6-8DD0-48F0-BF4B-9333FB05F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">
              <a:extLst>
                <a:ext uri="{FF2B5EF4-FFF2-40B4-BE49-F238E27FC236}">
                  <a16:creationId xmlns:a16="http://schemas.microsoft.com/office/drawing/2014/main" id="{53ED98FA-3970-488C-AA1A-75A8C28BD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829" y="414320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">
              <a:extLst>
                <a:ext uri="{FF2B5EF4-FFF2-40B4-BE49-F238E27FC236}">
                  <a16:creationId xmlns:a16="http://schemas.microsoft.com/office/drawing/2014/main" id="{62EF4283-B385-4A2D-9FEC-0D6243BD5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511" y="4968816"/>
              <a:ext cx="1477196" cy="1119383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">
              <a:extLst>
                <a:ext uri="{FF2B5EF4-FFF2-40B4-BE49-F238E27FC236}">
                  <a16:creationId xmlns:a16="http://schemas.microsoft.com/office/drawing/2014/main" id="{8100605E-AEA5-4AD9-8F5D-103897614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968816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700E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588C1561-4A31-497B-8390-4D03870D16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5634" y="3715841"/>
              <a:ext cx="684000" cy="684000"/>
            </a:xfrm>
            <a:prstGeom prst="rect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5" name="Rechthoek 134">
              <a:extLst>
                <a:ext uri="{FF2B5EF4-FFF2-40B4-BE49-F238E27FC236}">
                  <a16:creationId xmlns:a16="http://schemas.microsoft.com/office/drawing/2014/main" id="{A1C1FB3D-6FE5-4444-80DF-6D1C56178D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80435" y="4666865"/>
              <a:ext cx="684000" cy="68400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04A9B99D-8E0B-466A-9B35-A2A3122D04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96320" y="3667536"/>
              <a:ext cx="684000" cy="684000"/>
            </a:xfrm>
            <a:prstGeom prst="rect">
              <a:avLst/>
            </a:prstGeom>
            <a:blipFill dpi="0" rotWithShape="1">
              <a:blip r:embed="rId6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BDEB8877-462A-49C4-98C8-4DEE3FAD5B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1556" y="4695476"/>
              <a:ext cx="684000" cy="684000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8" name="Rechthoek 137">
              <a:extLst>
                <a:ext uri="{FF2B5EF4-FFF2-40B4-BE49-F238E27FC236}">
                  <a16:creationId xmlns:a16="http://schemas.microsoft.com/office/drawing/2014/main" id="{8A9B7D44-C701-4EB3-AE2C-2CE42B8022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0265" y="3667536"/>
              <a:ext cx="684000" cy="684000"/>
            </a:xfrm>
            <a:prstGeom prst="rect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104" name="Rechthoek: afgeronde hoeken 103">
            <a:extLst>
              <a:ext uri="{FF2B5EF4-FFF2-40B4-BE49-F238E27FC236}">
                <a16:creationId xmlns:a16="http://schemas.microsoft.com/office/drawing/2014/main" id="{C297795A-D23B-4E51-9078-CEE6B4690316}"/>
              </a:ext>
            </a:extLst>
          </p:cNvPr>
          <p:cNvSpPr/>
          <p:nvPr/>
        </p:nvSpPr>
        <p:spPr>
          <a:xfrm>
            <a:off x="5631951" y="1156686"/>
            <a:ext cx="4400550" cy="2357582"/>
          </a:xfrm>
          <a:prstGeom prst="roundRect">
            <a:avLst/>
          </a:prstGeom>
          <a:noFill/>
          <a:ln w="254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FBDAF6E7-E075-4D94-A251-92950A2F6B26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MA Design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69F97C75-B699-4E6C-86D5-D28DFCDE84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8849" y="1267930"/>
            <a:ext cx="3378496" cy="2124204"/>
          </a:xfrm>
          <a:prstGeom prst="rect">
            <a:avLst/>
          </a:prstGeom>
        </p:spPr>
      </p:pic>
      <p:grpSp>
        <p:nvGrpSpPr>
          <p:cNvPr id="111" name="Groep 110">
            <a:extLst>
              <a:ext uri="{FF2B5EF4-FFF2-40B4-BE49-F238E27FC236}">
                <a16:creationId xmlns:a16="http://schemas.microsoft.com/office/drawing/2014/main" id="{6E766E61-AE69-403B-8DD3-87D1B0D56BE6}"/>
              </a:ext>
            </a:extLst>
          </p:cNvPr>
          <p:cNvGrpSpPr/>
          <p:nvPr/>
        </p:nvGrpSpPr>
        <p:grpSpPr>
          <a:xfrm>
            <a:off x="1004936" y="2527263"/>
            <a:ext cx="2911550" cy="1238105"/>
            <a:chOff x="570380" y="2527263"/>
            <a:chExt cx="2911550" cy="1238105"/>
          </a:xfrm>
        </p:grpSpPr>
        <p:sp>
          <p:nvSpPr>
            <p:cNvPr id="112" name="TextBox 18">
              <a:extLst>
                <a:ext uri="{FF2B5EF4-FFF2-40B4-BE49-F238E27FC236}">
                  <a16:creationId xmlns:a16="http://schemas.microsoft.com/office/drawing/2014/main" id="{725001ED-F369-4DD6-B40B-DC5EE6F821A5}"/>
                </a:ext>
              </a:extLst>
            </p:cNvPr>
            <p:cNvSpPr txBox="1"/>
            <p:nvPr/>
          </p:nvSpPr>
          <p:spPr>
            <a:xfrm>
              <a:off x="2883115" y="2527263"/>
              <a:ext cx="598815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0" b="1" dirty="0">
                  <a:solidFill>
                    <a:srgbClr val="C81919">
                      <a:alpha val="20000"/>
                    </a:srgbClr>
                  </a:solidFill>
                </a:rPr>
                <a:t>D</a:t>
              </a:r>
            </a:p>
          </p:txBody>
        </p:sp>
        <p:grpSp>
          <p:nvGrpSpPr>
            <p:cNvPr id="113" name="Group 24">
              <a:extLst>
                <a:ext uri="{FF2B5EF4-FFF2-40B4-BE49-F238E27FC236}">
                  <a16:creationId xmlns:a16="http://schemas.microsoft.com/office/drawing/2014/main" id="{F8ABEDD7-4EF6-45A3-91C6-6CA41D0D79F1}"/>
                </a:ext>
              </a:extLst>
            </p:cNvPr>
            <p:cNvGrpSpPr/>
            <p:nvPr/>
          </p:nvGrpSpPr>
          <p:grpSpPr>
            <a:xfrm>
              <a:off x="570380" y="2790691"/>
              <a:ext cx="2578288" cy="974677"/>
              <a:chOff x="563265" y="4439310"/>
              <a:chExt cx="2578288" cy="974677"/>
            </a:xfrm>
          </p:grpSpPr>
          <p:sp>
            <p:nvSpPr>
              <p:cNvPr id="114" name="TextBox 123">
                <a:extLst>
                  <a:ext uri="{FF2B5EF4-FFF2-40B4-BE49-F238E27FC236}">
                    <a16:creationId xmlns:a16="http://schemas.microsoft.com/office/drawing/2014/main" id="{A732C6D3-2574-450C-AFDA-3E359B3DFFF6}"/>
                  </a:ext>
                </a:extLst>
              </p:cNvPr>
              <p:cNvSpPr txBox="1"/>
              <p:nvPr/>
            </p:nvSpPr>
            <p:spPr>
              <a:xfrm>
                <a:off x="731178" y="4767656"/>
                <a:ext cx="2410375" cy="646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Both directly</a:t>
                </a: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via</a:t>
                </a: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feedback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and indirectly via </a:t>
                </a: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erformed  behavior.</a:t>
                </a:r>
              </a:p>
            </p:txBody>
          </p:sp>
          <p:sp>
            <p:nvSpPr>
              <p:cNvPr id="115" name="TextBox 124">
                <a:extLst>
                  <a:ext uri="{FF2B5EF4-FFF2-40B4-BE49-F238E27FC236}">
                    <a16:creationId xmlns:a16="http://schemas.microsoft.com/office/drawing/2014/main" id="{F6A8BB9F-2FAB-45FB-9A07-DDE6C4EC44C9}"/>
                  </a:ext>
                </a:extLst>
              </p:cNvPr>
              <p:cNvSpPr txBox="1"/>
              <p:nvPr/>
            </p:nvSpPr>
            <p:spPr>
              <a:xfrm>
                <a:off x="563265" y="4439310"/>
                <a:ext cx="2518404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2000" b="1" dirty="0">
                    <a:solidFill>
                      <a:srgbClr val="C81919"/>
                    </a:solidFill>
                    <a:latin typeface="Century Gothic" panose="020B0502020202020204" pitchFamily="34" charset="0"/>
                  </a:rPr>
                  <a:t>Effectiveness metric</a:t>
                </a:r>
                <a:endParaRPr lang="en-US" sz="2000" b="1" dirty="0">
                  <a:solidFill>
                    <a:srgbClr val="C81919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5546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roep 100">
            <a:extLst>
              <a:ext uri="{FF2B5EF4-FFF2-40B4-BE49-F238E27FC236}">
                <a16:creationId xmlns:a16="http://schemas.microsoft.com/office/drawing/2014/main" id="{2C6132DF-BE3F-4AD1-9E48-F576E46C6C39}"/>
              </a:ext>
            </a:extLst>
          </p:cNvPr>
          <p:cNvGrpSpPr/>
          <p:nvPr/>
        </p:nvGrpSpPr>
        <p:grpSpPr>
          <a:xfrm>
            <a:off x="9615318" y="3671020"/>
            <a:ext cx="67710" cy="1243813"/>
            <a:chOff x="6048462" y="3671020"/>
            <a:chExt cx="67710" cy="1243813"/>
          </a:xfrm>
        </p:grpSpPr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815004E3-7D58-44A8-A6F6-AA968B34AE81}"/>
                </a:ext>
              </a:extLst>
            </p:cNvPr>
            <p:cNvCxnSpPr>
              <a:cxnSpLocks/>
            </p:cNvCxnSpPr>
            <p:nvPr/>
          </p:nvCxnSpPr>
          <p:spPr>
            <a:xfrm>
              <a:off x="6081518" y="3695866"/>
              <a:ext cx="1599" cy="1218967"/>
            </a:xfrm>
            <a:prstGeom prst="line">
              <a:avLst/>
            </a:prstGeom>
            <a:ln w="254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Ovaal 102">
              <a:extLst>
                <a:ext uri="{FF2B5EF4-FFF2-40B4-BE49-F238E27FC236}">
                  <a16:creationId xmlns:a16="http://schemas.microsoft.com/office/drawing/2014/main" id="{9636391A-E5CF-483E-8C4E-42B2630A4C31}"/>
                </a:ext>
              </a:extLst>
            </p:cNvPr>
            <p:cNvSpPr/>
            <p:nvPr/>
          </p:nvSpPr>
          <p:spPr>
            <a:xfrm>
              <a:off x="6048462" y="3671020"/>
              <a:ext cx="67710" cy="67710"/>
            </a:xfrm>
            <a:prstGeom prst="ellipse">
              <a:avLst/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8495AE13-EEEA-4CB0-9C32-DFE988255A47}"/>
              </a:ext>
            </a:extLst>
          </p:cNvPr>
          <p:cNvGrpSpPr/>
          <p:nvPr/>
        </p:nvGrpSpPr>
        <p:grpSpPr>
          <a:xfrm>
            <a:off x="5194300" y="4381714"/>
            <a:ext cx="5347210" cy="1706485"/>
            <a:chOff x="1650490" y="3250758"/>
            <a:chExt cx="8891020" cy="2837441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770B2F9F-C7B1-486C-9CF2-F13E7F0E9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4568" y="4109787"/>
              <a:ext cx="1486942" cy="1119383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rgbClr val="F39F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DE6F9AA-8AF1-46EB-9FFA-B55980CC3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372" y="3250758"/>
              <a:ext cx="2964138" cy="1718058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D92E8E10-7700-45AA-B23A-CE3702B6B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8632" y="3284172"/>
              <a:ext cx="2841618" cy="1651229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rgbClr val="F39F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34DD6D16-2083-4C3E-BB1E-2BB4BD3AF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26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F4E29A15-9A6B-4FE0-AE76-E2B44B054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317" y="4109787"/>
              <a:ext cx="448310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026898BB-D26E-4226-BE51-14E9E02B6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3250758"/>
              <a:ext cx="2964138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B4ED6C9A-C4DA-49CC-B9CD-1DDDD2A3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750" y="328417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95EF641E-B809-4506-AF57-366CC8C1D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6C56836-065C-48CE-9F24-AB88E40EC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0490" y="4109787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CC3F2265-3406-48E3-988D-C252081E9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690" y="4420263"/>
              <a:ext cx="316045" cy="526277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D5620D4-D161-47D1-BD84-1BAB21F03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8CA7D311-FF23-4946-AA44-F3D1BD764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58" y="4137196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C6F1C8CF-47F0-48C0-AD65-9735AC8BF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766" y="4968816"/>
              <a:ext cx="1475803" cy="1119383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DF028DBA-58C7-46B3-A060-668E871A2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432" y="4968816"/>
              <a:ext cx="1488334" cy="1119383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1F2CD81E-6C5F-406B-BBEF-ACB67EF6B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454" y="4109787"/>
              <a:ext cx="446918" cy="53741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46927B09-7E04-44FB-A341-54C7035B1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043" y="4658341"/>
              <a:ext cx="1343538" cy="570830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C5555BAF-68C7-4DD0-9D91-023729370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628" y="3250758"/>
              <a:ext cx="2962745" cy="1718058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2">
              <a:extLst>
                <a:ext uri="{FF2B5EF4-FFF2-40B4-BE49-F238E27FC236}">
                  <a16:creationId xmlns:a16="http://schemas.microsoft.com/office/drawing/2014/main" id="{4B933BD8-4FE6-48F6-99DD-C109D92B8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748" y="3314118"/>
              <a:ext cx="2843010" cy="1651229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3">
              <a:extLst>
                <a:ext uri="{FF2B5EF4-FFF2-40B4-BE49-F238E27FC236}">
                  <a16:creationId xmlns:a16="http://schemas.microsoft.com/office/drawing/2014/main" id="{132692C6-8DD0-48F0-BF4B-9333FB05F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109787"/>
              <a:ext cx="2964138" cy="1718058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">
              <a:extLst>
                <a:ext uri="{FF2B5EF4-FFF2-40B4-BE49-F238E27FC236}">
                  <a16:creationId xmlns:a16="http://schemas.microsoft.com/office/drawing/2014/main" id="{53ED98FA-3970-488C-AA1A-75A8C28BD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829" y="4143202"/>
              <a:ext cx="2841618" cy="1651229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">
              <a:extLst>
                <a:ext uri="{FF2B5EF4-FFF2-40B4-BE49-F238E27FC236}">
                  <a16:creationId xmlns:a16="http://schemas.microsoft.com/office/drawing/2014/main" id="{62EF4283-B385-4A2D-9FEC-0D6243BD5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511" y="4968816"/>
              <a:ext cx="1477196" cy="1119383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">
              <a:extLst>
                <a:ext uri="{FF2B5EF4-FFF2-40B4-BE49-F238E27FC236}">
                  <a16:creationId xmlns:a16="http://schemas.microsoft.com/office/drawing/2014/main" id="{8100605E-AEA5-4AD9-8F5D-103897614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569" y="4968816"/>
              <a:ext cx="1486942" cy="1119383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588C1561-4A31-497B-8390-4D03870D16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5634" y="3715841"/>
              <a:ext cx="684000" cy="684000"/>
            </a:xfrm>
            <a:prstGeom prst="rect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5" name="Rechthoek 134">
              <a:extLst>
                <a:ext uri="{FF2B5EF4-FFF2-40B4-BE49-F238E27FC236}">
                  <a16:creationId xmlns:a16="http://schemas.microsoft.com/office/drawing/2014/main" id="{A1C1FB3D-6FE5-4444-80DF-6D1C56178D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80435" y="4666865"/>
              <a:ext cx="684000" cy="684000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04A9B99D-8E0B-466A-9B35-A2A3122D04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96320" y="3667536"/>
              <a:ext cx="684000" cy="684000"/>
            </a:xfrm>
            <a:prstGeom prst="rect">
              <a:avLst/>
            </a:prstGeom>
            <a:blipFill dpi="0" rotWithShape="1">
              <a:blip r:embed="rId6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BDEB8877-462A-49C4-98C8-4DEE3FAD5B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1556" y="4695476"/>
              <a:ext cx="684000" cy="684000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38" name="Rechthoek 137">
              <a:extLst>
                <a:ext uri="{FF2B5EF4-FFF2-40B4-BE49-F238E27FC236}">
                  <a16:creationId xmlns:a16="http://schemas.microsoft.com/office/drawing/2014/main" id="{8A9B7D44-C701-4EB3-AE2C-2CE42B8022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00265" y="3667536"/>
              <a:ext cx="684000" cy="684000"/>
            </a:xfrm>
            <a:prstGeom prst="rect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scene3d>
              <a:camera prst="isometricTopU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104" name="Rechthoek: afgeronde hoeken 103">
            <a:extLst>
              <a:ext uri="{FF2B5EF4-FFF2-40B4-BE49-F238E27FC236}">
                <a16:creationId xmlns:a16="http://schemas.microsoft.com/office/drawing/2014/main" id="{F08C0010-AB92-4A7F-96CF-9018DC170A38}"/>
              </a:ext>
            </a:extLst>
          </p:cNvPr>
          <p:cNvSpPr/>
          <p:nvPr/>
        </p:nvSpPr>
        <p:spPr>
          <a:xfrm>
            <a:off x="5631951" y="1156686"/>
            <a:ext cx="4400550" cy="2357582"/>
          </a:xfrm>
          <a:prstGeom prst="roundRect">
            <a:avLst/>
          </a:prstGeom>
          <a:noFill/>
          <a:ln w="254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MA Design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04A2AAEB-E97E-4644-8DA8-22672CBFE077}"/>
              </a:ext>
            </a:extLst>
          </p:cNvPr>
          <p:cNvGrpSpPr/>
          <p:nvPr/>
        </p:nvGrpSpPr>
        <p:grpSpPr>
          <a:xfrm>
            <a:off x="1112964" y="2527263"/>
            <a:ext cx="2803522" cy="1238105"/>
            <a:chOff x="678408" y="2527263"/>
            <a:chExt cx="2803522" cy="1238105"/>
          </a:xfrm>
        </p:grpSpPr>
        <p:sp>
          <p:nvSpPr>
            <p:cNvPr id="112" name="TextBox 18">
              <a:extLst>
                <a:ext uri="{FF2B5EF4-FFF2-40B4-BE49-F238E27FC236}">
                  <a16:creationId xmlns:a16="http://schemas.microsoft.com/office/drawing/2014/main" id="{7F6552FB-F36A-4926-BB48-CCAFCFDA7297}"/>
                </a:ext>
              </a:extLst>
            </p:cNvPr>
            <p:cNvSpPr txBox="1"/>
            <p:nvPr/>
          </p:nvSpPr>
          <p:spPr>
            <a:xfrm>
              <a:off x="2883115" y="2527263"/>
              <a:ext cx="598815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0" b="1" dirty="0">
                  <a:solidFill>
                    <a:srgbClr val="C81919">
                      <a:alpha val="20000"/>
                    </a:srgbClr>
                  </a:solidFill>
                </a:rPr>
                <a:t>E</a:t>
              </a:r>
            </a:p>
          </p:txBody>
        </p:sp>
        <p:grpSp>
          <p:nvGrpSpPr>
            <p:cNvPr id="113" name="Group 24">
              <a:extLst>
                <a:ext uri="{FF2B5EF4-FFF2-40B4-BE49-F238E27FC236}">
                  <a16:creationId xmlns:a16="http://schemas.microsoft.com/office/drawing/2014/main" id="{5F772765-1D48-474C-BDAD-4B118789712C}"/>
                </a:ext>
              </a:extLst>
            </p:cNvPr>
            <p:cNvGrpSpPr/>
            <p:nvPr/>
          </p:nvGrpSpPr>
          <p:grpSpPr>
            <a:xfrm>
              <a:off x="678408" y="2790691"/>
              <a:ext cx="2470260" cy="974677"/>
              <a:chOff x="671293" y="4439310"/>
              <a:chExt cx="2470260" cy="974677"/>
            </a:xfrm>
          </p:grpSpPr>
          <p:sp>
            <p:nvSpPr>
              <p:cNvPr id="114" name="TextBox 123">
                <a:extLst>
                  <a:ext uri="{FF2B5EF4-FFF2-40B4-BE49-F238E27FC236}">
                    <a16:creationId xmlns:a16="http://schemas.microsoft.com/office/drawing/2014/main" id="{F26B5413-D1E1-47D6-9F92-EA63846CE02E}"/>
                  </a:ext>
                </a:extLst>
              </p:cNvPr>
              <p:cNvSpPr txBox="1"/>
              <p:nvPr/>
            </p:nvSpPr>
            <p:spPr>
              <a:xfrm>
                <a:off x="731178" y="4767656"/>
                <a:ext cx="2410375" cy="646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hanging </a:t>
                </a:r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ean and variance of distribution</a:t>
                </a:r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in profile based on feedback sentiment. </a:t>
                </a:r>
              </a:p>
            </p:txBody>
          </p:sp>
          <p:sp>
            <p:nvSpPr>
              <p:cNvPr id="115" name="TextBox 124">
                <a:extLst>
                  <a:ext uri="{FF2B5EF4-FFF2-40B4-BE49-F238E27FC236}">
                    <a16:creationId xmlns:a16="http://schemas.microsoft.com/office/drawing/2014/main" id="{68152BDC-6E44-4837-94A5-74C392B13093}"/>
                  </a:ext>
                </a:extLst>
              </p:cNvPr>
              <p:cNvSpPr txBox="1"/>
              <p:nvPr/>
            </p:nvSpPr>
            <p:spPr>
              <a:xfrm>
                <a:off x="671293" y="4439310"/>
                <a:ext cx="2410375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da-DK" sz="2000" b="1" dirty="0">
                    <a:solidFill>
                      <a:srgbClr val="C81919"/>
                    </a:solidFill>
                    <a:latin typeface="Century Gothic" panose="020B0502020202020204" pitchFamily="34" charset="0"/>
                  </a:rPr>
                  <a:t>Learning rules</a:t>
                </a:r>
                <a:endParaRPr lang="en-US" sz="2000" b="1" dirty="0">
                  <a:solidFill>
                    <a:srgbClr val="C81919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grpSp>
        <p:nvGrpSpPr>
          <p:cNvPr id="168" name="Groep 167">
            <a:extLst>
              <a:ext uri="{FF2B5EF4-FFF2-40B4-BE49-F238E27FC236}">
                <a16:creationId xmlns:a16="http://schemas.microsoft.com/office/drawing/2014/main" id="{8BF56BE9-DF65-436A-BC3E-EF965F6F9CF8}"/>
              </a:ext>
            </a:extLst>
          </p:cNvPr>
          <p:cNvGrpSpPr/>
          <p:nvPr/>
        </p:nvGrpSpPr>
        <p:grpSpPr>
          <a:xfrm>
            <a:off x="6479572" y="1417489"/>
            <a:ext cx="2705308" cy="1835976"/>
            <a:chOff x="6448217" y="1420715"/>
            <a:chExt cx="2705308" cy="1835976"/>
          </a:xfrm>
        </p:grpSpPr>
        <p:grpSp>
          <p:nvGrpSpPr>
            <p:cNvPr id="29" name="Groep 28">
              <a:extLst>
                <a:ext uri="{FF2B5EF4-FFF2-40B4-BE49-F238E27FC236}">
                  <a16:creationId xmlns:a16="http://schemas.microsoft.com/office/drawing/2014/main" id="{293AD080-33EB-4B2C-80F4-27B2A430A7A6}"/>
                </a:ext>
              </a:extLst>
            </p:cNvPr>
            <p:cNvGrpSpPr/>
            <p:nvPr/>
          </p:nvGrpSpPr>
          <p:grpSpPr>
            <a:xfrm>
              <a:off x="7749050" y="1420715"/>
              <a:ext cx="1404475" cy="1829525"/>
              <a:chOff x="7876050" y="1400175"/>
              <a:chExt cx="1404475" cy="1829525"/>
            </a:xfrm>
          </p:grpSpPr>
          <p:grpSp>
            <p:nvGrpSpPr>
              <p:cNvPr id="28" name="Groep 27">
                <a:extLst>
                  <a:ext uri="{FF2B5EF4-FFF2-40B4-BE49-F238E27FC236}">
                    <a16:creationId xmlns:a16="http://schemas.microsoft.com/office/drawing/2014/main" id="{7048071E-4BD4-44FD-B6B1-6085F57298ED}"/>
                  </a:ext>
                </a:extLst>
              </p:cNvPr>
              <p:cNvGrpSpPr/>
              <p:nvPr/>
            </p:nvGrpSpPr>
            <p:grpSpPr>
              <a:xfrm>
                <a:off x="7908097" y="1400175"/>
                <a:ext cx="1372428" cy="791156"/>
                <a:chOff x="7908097" y="1352550"/>
                <a:chExt cx="1372428" cy="791156"/>
              </a:xfrm>
            </p:grpSpPr>
            <p:grpSp>
              <p:nvGrpSpPr>
                <p:cNvPr id="22" name="Groep 21">
                  <a:extLst>
                    <a:ext uri="{FF2B5EF4-FFF2-40B4-BE49-F238E27FC236}">
                      <a16:creationId xmlns:a16="http://schemas.microsoft.com/office/drawing/2014/main" id="{7BBB67DA-B620-494F-9250-B71E6C5C3861}"/>
                    </a:ext>
                  </a:extLst>
                </p:cNvPr>
                <p:cNvGrpSpPr/>
                <p:nvPr/>
              </p:nvGrpSpPr>
              <p:grpSpPr>
                <a:xfrm>
                  <a:off x="7908097" y="1459638"/>
                  <a:ext cx="1372428" cy="684068"/>
                  <a:chOff x="7908097" y="1514475"/>
                  <a:chExt cx="1372428" cy="684068"/>
                </a:xfrm>
              </p:grpSpPr>
              <p:grpSp>
                <p:nvGrpSpPr>
                  <p:cNvPr id="7" name="Groep 6">
                    <a:extLst>
                      <a:ext uri="{FF2B5EF4-FFF2-40B4-BE49-F238E27FC236}">
                        <a16:creationId xmlns:a16="http://schemas.microsoft.com/office/drawing/2014/main" id="{E0EC7692-7659-4291-9CEF-EBF12180B473}"/>
                      </a:ext>
                    </a:extLst>
                  </p:cNvPr>
                  <p:cNvGrpSpPr/>
                  <p:nvPr/>
                </p:nvGrpSpPr>
                <p:grpSpPr>
                  <a:xfrm>
                    <a:off x="7908097" y="1514475"/>
                    <a:ext cx="1372428" cy="684068"/>
                    <a:chOff x="6085397" y="1406933"/>
                    <a:chExt cx="1372428" cy="684068"/>
                  </a:xfrm>
                </p:grpSpPr>
                <p:cxnSp>
                  <p:nvCxnSpPr>
                    <p:cNvPr id="116" name="Rechte verbindingslijn 115">
                      <a:extLst>
                        <a:ext uri="{FF2B5EF4-FFF2-40B4-BE49-F238E27FC236}">
                          <a16:creationId xmlns:a16="http://schemas.microsoft.com/office/drawing/2014/main" id="{16A485B4-F194-48DE-910B-DFDCEC5218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6088572" y="1406933"/>
                      <a:ext cx="0" cy="684068"/>
                    </a:xfrm>
                    <a:prstGeom prst="line">
                      <a:avLst/>
                    </a:prstGeom>
                    <a:ln w="12700">
                      <a:solidFill>
                        <a:schemeClr val="accent3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7" name="Rechte verbindingslijn 116">
                      <a:extLst>
                        <a:ext uri="{FF2B5EF4-FFF2-40B4-BE49-F238E27FC236}">
                          <a16:creationId xmlns:a16="http://schemas.microsoft.com/office/drawing/2014/main" id="{D6E62F27-CFEC-4B6F-B270-F9FB145804E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 flipV="1">
                      <a:off x="6085397" y="2087826"/>
                      <a:ext cx="1372428" cy="3175"/>
                    </a:xfrm>
                    <a:prstGeom prst="line">
                      <a:avLst/>
                    </a:prstGeom>
                    <a:ln w="12700">
                      <a:solidFill>
                        <a:schemeClr val="accent3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20" name="Vrije vorm: vorm 19">
                    <a:extLst>
                      <a:ext uri="{FF2B5EF4-FFF2-40B4-BE49-F238E27FC236}">
                        <a16:creationId xmlns:a16="http://schemas.microsoft.com/office/drawing/2014/main" id="{00C02D6C-3684-4C64-95E7-61156AED5D2A}"/>
                      </a:ext>
                    </a:extLst>
                  </p:cNvPr>
                  <p:cNvSpPr/>
                  <p:nvPr/>
                </p:nvSpPr>
                <p:spPr>
                  <a:xfrm>
                    <a:off x="7965281" y="1607319"/>
                    <a:ext cx="1240632" cy="567290"/>
                  </a:xfrm>
                  <a:custGeom>
                    <a:avLst/>
                    <a:gdLst>
                      <a:gd name="connsiteX0" fmla="*/ 0 w 1240632"/>
                      <a:gd name="connsiteY0" fmla="*/ 560685 h 565976"/>
                      <a:gd name="connsiteX1" fmla="*/ 102394 w 1240632"/>
                      <a:gd name="connsiteY1" fmla="*/ 555922 h 565976"/>
                      <a:gd name="connsiteX2" fmla="*/ 202407 w 1240632"/>
                      <a:gd name="connsiteY2" fmla="*/ 513060 h 565976"/>
                      <a:gd name="connsiteX3" fmla="*/ 311944 w 1240632"/>
                      <a:gd name="connsiteY3" fmla="*/ 389235 h 565976"/>
                      <a:gd name="connsiteX4" fmla="*/ 495300 w 1240632"/>
                      <a:gd name="connsiteY4" fmla="*/ 82054 h 565976"/>
                      <a:gd name="connsiteX5" fmla="*/ 573882 w 1240632"/>
                      <a:gd name="connsiteY5" fmla="*/ 17760 h 565976"/>
                      <a:gd name="connsiteX6" fmla="*/ 621507 w 1240632"/>
                      <a:gd name="connsiteY6" fmla="*/ 1091 h 565976"/>
                      <a:gd name="connsiteX7" fmla="*/ 726282 w 1240632"/>
                      <a:gd name="connsiteY7" fmla="*/ 41572 h 565976"/>
                      <a:gd name="connsiteX8" fmla="*/ 833438 w 1240632"/>
                      <a:gd name="connsiteY8" fmla="*/ 213022 h 565976"/>
                      <a:gd name="connsiteX9" fmla="*/ 912019 w 1240632"/>
                      <a:gd name="connsiteY9" fmla="*/ 339229 h 565976"/>
                      <a:gd name="connsiteX10" fmla="*/ 992982 w 1240632"/>
                      <a:gd name="connsiteY10" fmla="*/ 467816 h 565976"/>
                      <a:gd name="connsiteX11" fmla="*/ 1069182 w 1240632"/>
                      <a:gd name="connsiteY11" fmla="*/ 527347 h 565976"/>
                      <a:gd name="connsiteX12" fmla="*/ 1162050 w 1240632"/>
                      <a:gd name="connsiteY12" fmla="*/ 560685 h 565976"/>
                      <a:gd name="connsiteX13" fmla="*/ 1240632 w 1240632"/>
                      <a:gd name="connsiteY13" fmla="*/ 565447 h 565976"/>
                      <a:gd name="connsiteX0" fmla="*/ 0 w 1240632"/>
                      <a:gd name="connsiteY0" fmla="*/ 560834 h 566125"/>
                      <a:gd name="connsiteX1" fmla="*/ 102394 w 1240632"/>
                      <a:gd name="connsiteY1" fmla="*/ 556071 h 566125"/>
                      <a:gd name="connsiteX2" fmla="*/ 202407 w 1240632"/>
                      <a:gd name="connsiteY2" fmla="*/ 513209 h 566125"/>
                      <a:gd name="connsiteX3" fmla="*/ 311944 w 1240632"/>
                      <a:gd name="connsiteY3" fmla="*/ 389384 h 566125"/>
                      <a:gd name="connsiteX4" fmla="*/ 495300 w 1240632"/>
                      <a:gd name="connsiteY4" fmla="*/ 82203 h 566125"/>
                      <a:gd name="connsiteX5" fmla="*/ 573882 w 1240632"/>
                      <a:gd name="connsiteY5" fmla="*/ 17909 h 566125"/>
                      <a:gd name="connsiteX6" fmla="*/ 621507 w 1240632"/>
                      <a:gd name="connsiteY6" fmla="*/ 1240 h 566125"/>
                      <a:gd name="connsiteX7" fmla="*/ 711994 w 1240632"/>
                      <a:gd name="connsiteY7" fmla="*/ 44102 h 566125"/>
                      <a:gd name="connsiteX8" fmla="*/ 833438 w 1240632"/>
                      <a:gd name="connsiteY8" fmla="*/ 213171 h 566125"/>
                      <a:gd name="connsiteX9" fmla="*/ 912019 w 1240632"/>
                      <a:gd name="connsiteY9" fmla="*/ 339378 h 566125"/>
                      <a:gd name="connsiteX10" fmla="*/ 992982 w 1240632"/>
                      <a:gd name="connsiteY10" fmla="*/ 467965 h 566125"/>
                      <a:gd name="connsiteX11" fmla="*/ 1069182 w 1240632"/>
                      <a:gd name="connsiteY11" fmla="*/ 527496 h 566125"/>
                      <a:gd name="connsiteX12" fmla="*/ 1162050 w 1240632"/>
                      <a:gd name="connsiteY12" fmla="*/ 560834 h 566125"/>
                      <a:gd name="connsiteX13" fmla="*/ 1240632 w 1240632"/>
                      <a:gd name="connsiteY13" fmla="*/ 565596 h 566125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21507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07220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0341 h 565632"/>
                      <a:gd name="connsiteX1" fmla="*/ 102394 w 1240632"/>
                      <a:gd name="connsiteY1" fmla="*/ 555578 h 565632"/>
                      <a:gd name="connsiteX2" fmla="*/ 202407 w 1240632"/>
                      <a:gd name="connsiteY2" fmla="*/ 512716 h 565632"/>
                      <a:gd name="connsiteX3" fmla="*/ 311944 w 1240632"/>
                      <a:gd name="connsiteY3" fmla="*/ 388891 h 565632"/>
                      <a:gd name="connsiteX4" fmla="*/ 495300 w 1240632"/>
                      <a:gd name="connsiteY4" fmla="*/ 81710 h 565632"/>
                      <a:gd name="connsiteX5" fmla="*/ 607220 w 1240632"/>
                      <a:gd name="connsiteY5" fmla="*/ 747 h 565632"/>
                      <a:gd name="connsiteX6" fmla="*/ 711994 w 1240632"/>
                      <a:gd name="connsiteY6" fmla="*/ 43609 h 565632"/>
                      <a:gd name="connsiteX7" fmla="*/ 833438 w 1240632"/>
                      <a:gd name="connsiteY7" fmla="*/ 212678 h 565632"/>
                      <a:gd name="connsiteX8" fmla="*/ 912019 w 1240632"/>
                      <a:gd name="connsiteY8" fmla="*/ 338885 h 565632"/>
                      <a:gd name="connsiteX9" fmla="*/ 992982 w 1240632"/>
                      <a:gd name="connsiteY9" fmla="*/ 467472 h 565632"/>
                      <a:gd name="connsiteX10" fmla="*/ 1069182 w 1240632"/>
                      <a:gd name="connsiteY10" fmla="*/ 527003 h 565632"/>
                      <a:gd name="connsiteX11" fmla="*/ 1162050 w 1240632"/>
                      <a:gd name="connsiteY11" fmla="*/ 560341 h 565632"/>
                      <a:gd name="connsiteX12" fmla="*/ 1240632 w 1240632"/>
                      <a:gd name="connsiteY12" fmla="*/ 565103 h 565632"/>
                      <a:gd name="connsiteX0" fmla="*/ 0 w 1240632"/>
                      <a:gd name="connsiteY0" fmla="*/ 562772 h 568063"/>
                      <a:gd name="connsiteX1" fmla="*/ 102394 w 1240632"/>
                      <a:gd name="connsiteY1" fmla="*/ 558009 h 568063"/>
                      <a:gd name="connsiteX2" fmla="*/ 202407 w 1240632"/>
                      <a:gd name="connsiteY2" fmla="*/ 515147 h 568063"/>
                      <a:gd name="connsiteX3" fmla="*/ 311944 w 1240632"/>
                      <a:gd name="connsiteY3" fmla="*/ 391322 h 568063"/>
                      <a:gd name="connsiteX4" fmla="*/ 495300 w 1240632"/>
                      <a:gd name="connsiteY4" fmla="*/ 84141 h 568063"/>
                      <a:gd name="connsiteX5" fmla="*/ 607220 w 1240632"/>
                      <a:gd name="connsiteY5" fmla="*/ 3178 h 568063"/>
                      <a:gd name="connsiteX6" fmla="*/ 711994 w 1240632"/>
                      <a:gd name="connsiteY6" fmla="*/ 46040 h 568063"/>
                      <a:gd name="connsiteX7" fmla="*/ 912019 w 1240632"/>
                      <a:gd name="connsiteY7" fmla="*/ 341316 h 568063"/>
                      <a:gd name="connsiteX8" fmla="*/ 992982 w 1240632"/>
                      <a:gd name="connsiteY8" fmla="*/ 469903 h 568063"/>
                      <a:gd name="connsiteX9" fmla="*/ 1069182 w 1240632"/>
                      <a:gd name="connsiteY9" fmla="*/ 529434 h 568063"/>
                      <a:gd name="connsiteX10" fmla="*/ 1162050 w 1240632"/>
                      <a:gd name="connsiteY10" fmla="*/ 562772 h 568063"/>
                      <a:gd name="connsiteX11" fmla="*/ 1240632 w 1240632"/>
                      <a:gd name="connsiteY11" fmla="*/ 567534 h 568063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069182 w 1240632"/>
                      <a:gd name="connsiteY8" fmla="*/ 535653 h 574282"/>
                      <a:gd name="connsiteX9" fmla="*/ 1162050 w 1240632"/>
                      <a:gd name="connsiteY9" fmla="*/ 568991 h 574282"/>
                      <a:gd name="connsiteX10" fmla="*/ 1240632 w 1240632"/>
                      <a:gd name="connsiteY10" fmla="*/ 573753 h 574282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162050 w 1240632"/>
                      <a:gd name="connsiteY8" fmla="*/ 568991 h 574282"/>
                      <a:gd name="connsiteX9" fmla="*/ 1240632 w 1240632"/>
                      <a:gd name="connsiteY9" fmla="*/ 573753 h 574282"/>
                      <a:gd name="connsiteX0" fmla="*/ 0 w 1240632"/>
                      <a:gd name="connsiteY0" fmla="*/ 564358 h 569649"/>
                      <a:gd name="connsiteX1" fmla="*/ 102394 w 1240632"/>
                      <a:gd name="connsiteY1" fmla="*/ 559595 h 569649"/>
                      <a:gd name="connsiteX2" fmla="*/ 202407 w 1240632"/>
                      <a:gd name="connsiteY2" fmla="*/ 516733 h 569649"/>
                      <a:gd name="connsiteX3" fmla="*/ 311944 w 1240632"/>
                      <a:gd name="connsiteY3" fmla="*/ 392908 h 569649"/>
                      <a:gd name="connsiteX4" fmla="*/ 495300 w 1240632"/>
                      <a:gd name="connsiteY4" fmla="*/ 85727 h 569649"/>
                      <a:gd name="connsiteX5" fmla="*/ 607220 w 1240632"/>
                      <a:gd name="connsiteY5" fmla="*/ 4764 h 569649"/>
                      <a:gd name="connsiteX6" fmla="*/ 711994 w 1240632"/>
                      <a:gd name="connsiteY6" fmla="*/ 47626 h 569649"/>
                      <a:gd name="connsiteX7" fmla="*/ 992982 w 1240632"/>
                      <a:gd name="connsiteY7" fmla="*/ 471489 h 569649"/>
                      <a:gd name="connsiteX8" fmla="*/ 1162050 w 1240632"/>
                      <a:gd name="connsiteY8" fmla="*/ 564358 h 569649"/>
                      <a:gd name="connsiteX9" fmla="*/ 1240632 w 1240632"/>
                      <a:gd name="connsiteY9" fmla="*/ 569120 h 569649"/>
                      <a:gd name="connsiteX0" fmla="*/ 0 w 1240632"/>
                      <a:gd name="connsiteY0" fmla="*/ 559621 h 564912"/>
                      <a:gd name="connsiteX1" fmla="*/ 102394 w 1240632"/>
                      <a:gd name="connsiteY1" fmla="*/ 554858 h 564912"/>
                      <a:gd name="connsiteX2" fmla="*/ 202407 w 1240632"/>
                      <a:gd name="connsiteY2" fmla="*/ 511996 h 564912"/>
                      <a:gd name="connsiteX3" fmla="*/ 311944 w 1240632"/>
                      <a:gd name="connsiteY3" fmla="*/ 388171 h 564912"/>
                      <a:gd name="connsiteX4" fmla="*/ 495300 w 1240632"/>
                      <a:gd name="connsiteY4" fmla="*/ 80990 h 564912"/>
                      <a:gd name="connsiteX5" fmla="*/ 607220 w 1240632"/>
                      <a:gd name="connsiteY5" fmla="*/ 27 h 564912"/>
                      <a:gd name="connsiteX6" fmla="*/ 747713 w 1240632"/>
                      <a:gd name="connsiteY6" fmla="*/ 85752 h 564912"/>
                      <a:gd name="connsiteX7" fmla="*/ 992982 w 1240632"/>
                      <a:gd name="connsiteY7" fmla="*/ 466752 h 564912"/>
                      <a:gd name="connsiteX8" fmla="*/ 1162050 w 1240632"/>
                      <a:gd name="connsiteY8" fmla="*/ 559621 h 564912"/>
                      <a:gd name="connsiteX9" fmla="*/ 1240632 w 1240632"/>
                      <a:gd name="connsiteY9" fmla="*/ 564383 h 564912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202407 w 1240632"/>
                      <a:gd name="connsiteY2" fmla="*/ 514374 h 567290"/>
                      <a:gd name="connsiteX3" fmla="*/ 311944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240632" h="567290">
                        <a:moveTo>
                          <a:pt x="0" y="561999"/>
                        </a:moveTo>
                        <a:lnTo>
                          <a:pt x="102394" y="557236"/>
                        </a:lnTo>
                        <a:cubicBezTo>
                          <a:pt x="136128" y="549299"/>
                          <a:pt x="167482" y="542155"/>
                          <a:pt x="202407" y="514374"/>
                        </a:cubicBezTo>
                        <a:cubicBezTo>
                          <a:pt x="237332" y="486593"/>
                          <a:pt x="263129" y="462383"/>
                          <a:pt x="311944" y="390549"/>
                        </a:cubicBezTo>
                        <a:cubicBezTo>
                          <a:pt x="360760" y="318715"/>
                          <a:pt x="442912" y="148456"/>
                          <a:pt x="495300" y="83368"/>
                        </a:cubicBezTo>
                        <a:cubicBezTo>
                          <a:pt x="547688" y="18280"/>
                          <a:pt x="584201" y="-771"/>
                          <a:pt x="626270" y="23"/>
                        </a:cubicBezTo>
                        <a:cubicBezTo>
                          <a:pt x="668339" y="817"/>
                          <a:pt x="686594" y="9946"/>
                          <a:pt x="747713" y="88130"/>
                        </a:cubicBezTo>
                        <a:cubicBezTo>
                          <a:pt x="808832" y="166314"/>
                          <a:pt x="923926" y="390152"/>
                          <a:pt x="992982" y="469130"/>
                        </a:cubicBezTo>
                        <a:cubicBezTo>
                          <a:pt x="1062038" y="548108"/>
                          <a:pt x="1120775" y="545727"/>
                          <a:pt x="1162050" y="561999"/>
                        </a:cubicBezTo>
                        <a:cubicBezTo>
                          <a:pt x="1190625" y="568349"/>
                          <a:pt x="1215628" y="567555"/>
                          <a:pt x="1240632" y="566761"/>
                        </a:cubicBezTo>
                      </a:path>
                    </a:pathLst>
                  </a:custGeom>
                  <a:noFill/>
                  <a:ln w="25400">
                    <a:solidFill>
                      <a:srgbClr val="76717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27" name="Vrije vorm: vorm 126">
                    <a:extLst>
                      <a:ext uri="{FF2B5EF4-FFF2-40B4-BE49-F238E27FC236}">
                        <a16:creationId xmlns:a16="http://schemas.microsoft.com/office/drawing/2014/main" id="{116C2B47-3E80-4083-92BD-49FDBFE35E1A}"/>
                      </a:ext>
                    </a:extLst>
                  </p:cNvPr>
                  <p:cNvSpPr/>
                  <p:nvPr/>
                </p:nvSpPr>
                <p:spPr>
                  <a:xfrm>
                    <a:off x="7969099" y="1539445"/>
                    <a:ext cx="1240632" cy="635843"/>
                  </a:xfrm>
                  <a:custGeom>
                    <a:avLst/>
                    <a:gdLst>
                      <a:gd name="connsiteX0" fmla="*/ 0 w 1240632"/>
                      <a:gd name="connsiteY0" fmla="*/ 560685 h 565976"/>
                      <a:gd name="connsiteX1" fmla="*/ 102394 w 1240632"/>
                      <a:gd name="connsiteY1" fmla="*/ 555922 h 565976"/>
                      <a:gd name="connsiteX2" fmla="*/ 202407 w 1240632"/>
                      <a:gd name="connsiteY2" fmla="*/ 513060 h 565976"/>
                      <a:gd name="connsiteX3" fmla="*/ 311944 w 1240632"/>
                      <a:gd name="connsiteY3" fmla="*/ 389235 h 565976"/>
                      <a:gd name="connsiteX4" fmla="*/ 495300 w 1240632"/>
                      <a:gd name="connsiteY4" fmla="*/ 82054 h 565976"/>
                      <a:gd name="connsiteX5" fmla="*/ 573882 w 1240632"/>
                      <a:gd name="connsiteY5" fmla="*/ 17760 h 565976"/>
                      <a:gd name="connsiteX6" fmla="*/ 621507 w 1240632"/>
                      <a:gd name="connsiteY6" fmla="*/ 1091 h 565976"/>
                      <a:gd name="connsiteX7" fmla="*/ 726282 w 1240632"/>
                      <a:gd name="connsiteY7" fmla="*/ 41572 h 565976"/>
                      <a:gd name="connsiteX8" fmla="*/ 833438 w 1240632"/>
                      <a:gd name="connsiteY8" fmla="*/ 213022 h 565976"/>
                      <a:gd name="connsiteX9" fmla="*/ 912019 w 1240632"/>
                      <a:gd name="connsiteY9" fmla="*/ 339229 h 565976"/>
                      <a:gd name="connsiteX10" fmla="*/ 992982 w 1240632"/>
                      <a:gd name="connsiteY10" fmla="*/ 467816 h 565976"/>
                      <a:gd name="connsiteX11" fmla="*/ 1069182 w 1240632"/>
                      <a:gd name="connsiteY11" fmla="*/ 527347 h 565976"/>
                      <a:gd name="connsiteX12" fmla="*/ 1162050 w 1240632"/>
                      <a:gd name="connsiteY12" fmla="*/ 560685 h 565976"/>
                      <a:gd name="connsiteX13" fmla="*/ 1240632 w 1240632"/>
                      <a:gd name="connsiteY13" fmla="*/ 565447 h 565976"/>
                      <a:gd name="connsiteX0" fmla="*/ 0 w 1240632"/>
                      <a:gd name="connsiteY0" fmla="*/ 560834 h 566125"/>
                      <a:gd name="connsiteX1" fmla="*/ 102394 w 1240632"/>
                      <a:gd name="connsiteY1" fmla="*/ 556071 h 566125"/>
                      <a:gd name="connsiteX2" fmla="*/ 202407 w 1240632"/>
                      <a:gd name="connsiteY2" fmla="*/ 513209 h 566125"/>
                      <a:gd name="connsiteX3" fmla="*/ 311944 w 1240632"/>
                      <a:gd name="connsiteY3" fmla="*/ 389384 h 566125"/>
                      <a:gd name="connsiteX4" fmla="*/ 495300 w 1240632"/>
                      <a:gd name="connsiteY4" fmla="*/ 82203 h 566125"/>
                      <a:gd name="connsiteX5" fmla="*/ 573882 w 1240632"/>
                      <a:gd name="connsiteY5" fmla="*/ 17909 h 566125"/>
                      <a:gd name="connsiteX6" fmla="*/ 621507 w 1240632"/>
                      <a:gd name="connsiteY6" fmla="*/ 1240 h 566125"/>
                      <a:gd name="connsiteX7" fmla="*/ 711994 w 1240632"/>
                      <a:gd name="connsiteY7" fmla="*/ 44102 h 566125"/>
                      <a:gd name="connsiteX8" fmla="*/ 833438 w 1240632"/>
                      <a:gd name="connsiteY8" fmla="*/ 213171 h 566125"/>
                      <a:gd name="connsiteX9" fmla="*/ 912019 w 1240632"/>
                      <a:gd name="connsiteY9" fmla="*/ 339378 h 566125"/>
                      <a:gd name="connsiteX10" fmla="*/ 992982 w 1240632"/>
                      <a:gd name="connsiteY10" fmla="*/ 467965 h 566125"/>
                      <a:gd name="connsiteX11" fmla="*/ 1069182 w 1240632"/>
                      <a:gd name="connsiteY11" fmla="*/ 527496 h 566125"/>
                      <a:gd name="connsiteX12" fmla="*/ 1162050 w 1240632"/>
                      <a:gd name="connsiteY12" fmla="*/ 560834 h 566125"/>
                      <a:gd name="connsiteX13" fmla="*/ 1240632 w 1240632"/>
                      <a:gd name="connsiteY13" fmla="*/ 565596 h 566125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21507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07220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0341 h 565632"/>
                      <a:gd name="connsiteX1" fmla="*/ 102394 w 1240632"/>
                      <a:gd name="connsiteY1" fmla="*/ 555578 h 565632"/>
                      <a:gd name="connsiteX2" fmla="*/ 202407 w 1240632"/>
                      <a:gd name="connsiteY2" fmla="*/ 512716 h 565632"/>
                      <a:gd name="connsiteX3" fmla="*/ 311944 w 1240632"/>
                      <a:gd name="connsiteY3" fmla="*/ 388891 h 565632"/>
                      <a:gd name="connsiteX4" fmla="*/ 495300 w 1240632"/>
                      <a:gd name="connsiteY4" fmla="*/ 81710 h 565632"/>
                      <a:gd name="connsiteX5" fmla="*/ 607220 w 1240632"/>
                      <a:gd name="connsiteY5" fmla="*/ 747 h 565632"/>
                      <a:gd name="connsiteX6" fmla="*/ 711994 w 1240632"/>
                      <a:gd name="connsiteY6" fmla="*/ 43609 h 565632"/>
                      <a:gd name="connsiteX7" fmla="*/ 833438 w 1240632"/>
                      <a:gd name="connsiteY7" fmla="*/ 212678 h 565632"/>
                      <a:gd name="connsiteX8" fmla="*/ 912019 w 1240632"/>
                      <a:gd name="connsiteY8" fmla="*/ 338885 h 565632"/>
                      <a:gd name="connsiteX9" fmla="*/ 992982 w 1240632"/>
                      <a:gd name="connsiteY9" fmla="*/ 467472 h 565632"/>
                      <a:gd name="connsiteX10" fmla="*/ 1069182 w 1240632"/>
                      <a:gd name="connsiteY10" fmla="*/ 527003 h 565632"/>
                      <a:gd name="connsiteX11" fmla="*/ 1162050 w 1240632"/>
                      <a:gd name="connsiteY11" fmla="*/ 560341 h 565632"/>
                      <a:gd name="connsiteX12" fmla="*/ 1240632 w 1240632"/>
                      <a:gd name="connsiteY12" fmla="*/ 565103 h 565632"/>
                      <a:gd name="connsiteX0" fmla="*/ 0 w 1240632"/>
                      <a:gd name="connsiteY0" fmla="*/ 562772 h 568063"/>
                      <a:gd name="connsiteX1" fmla="*/ 102394 w 1240632"/>
                      <a:gd name="connsiteY1" fmla="*/ 558009 h 568063"/>
                      <a:gd name="connsiteX2" fmla="*/ 202407 w 1240632"/>
                      <a:gd name="connsiteY2" fmla="*/ 515147 h 568063"/>
                      <a:gd name="connsiteX3" fmla="*/ 311944 w 1240632"/>
                      <a:gd name="connsiteY3" fmla="*/ 391322 h 568063"/>
                      <a:gd name="connsiteX4" fmla="*/ 495300 w 1240632"/>
                      <a:gd name="connsiteY4" fmla="*/ 84141 h 568063"/>
                      <a:gd name="connsiteX5" fmla="*/ 607220 w 1240632"/>
                      <a:gd name="connsiteY5" fmla="*/ 3178 h 568063"/>
                      <a:gd name="connsiteX6" fmla="*/ 711994 w 1240632"/>
                      <a:gd name="connsiteY6" fmla="*/ 46040 h 568063"/>
                      <a:gd name="connsiteX7" fmla="*/ 912019 w 1240632"/>
                      <a:gd name="connsiteY7" fmla="*/ 341316 h 568063"/>
                      <a:gd name="connsiteX8" fmla="*/ 992982 w 1240632"/>
                      <a:gd name="connsiteY8" fmla="*/ 469903 h 568063"/>
                      <a:gd name="connsiteX9" fmla="*/ 1069182 w 1240632"/>
                      <a:gd name="connsiteY9" fmla="*/ 529434 h 568063"/>
                      <a:gd name="connsiteX10" fmla="*/ 1162050 w 1240632"/>
                      <a:gd name="connsiteY10" fmla="*/ 562772 h 568063"/>
                      <a:gd name="connsiteX11" fmla="*/ 1240632 w 1240632"/>
                      <a:gd name="connsiteY11" fmla="*/ 567534 h 568063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069182 w 1240632"/>
                      <a:gd name="connsiteY8" fmla="*/ 535653 h 574282"/>
                      <a:gd name="connsiteX9" fmla="*/ 1162050 w 1240632"/>
                      <a:gd name="connsiteY9" fmla="*/ 568991 h 574282"/>
                      <a:gd name="connsiteX10" fmla="*/ 1240632 w 1240632"/>
                      <a:gd name="connsiteY10" fmla="*/ 573753 h 574282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162050 w 1240632"/>
                      <a:gd name="connsiteY8" fmla="*/ 568991 h 574282"/>
                      <a:gd name="connsiteX9" fmla="*/ 1240632 w 1240632"/>
                      <a:gd name="connsiteY9" fmla="*/ 573753 h 574282"/>
                      <a:gd name="connsiteX0" fmla="*/ 0 w 1240632"/>
                      <a:gd name="connsiteY0" fmla="*/ 564358 h 569649"/>
                      <a:gd name="connsiteX1" fmla="*/ 102394 w 1240632"/>
                      <a:gd name="connsiteY1" fmla="*/ 559595 h 569649"/>
                      <a:gd name="connsiteX2" fmla="*/ 202407 w 1240632"/>
                      <a:gd name="connsiteY2" fmla="*/ 516733 h 569649"/>
                      <a:gd name="connsiteX3" fmla="*/ 311944 w 1240632"/>
                      <a:gd name="connsiteY3" fmla="*/ 392908 h 569649"/>
                      <a:gd name="connsiteX4" fmla="*/ 495300 w 1240632"/>
                      <a:gd name="connsiteY4" fmla="*/ 85727 h 569649"/>
                      <a:gd name="connsiteX5" fmla="*/ 607220 w 1240632"/>
                      <a:gd name="connsiteY5" fmla="*/ 4764 h 569649"/>
                      <a:gd name="connsiteX6" fmla="*/ 711994 w 1240632"/>
                      <a:gd name="connsiteY6" fmla="*/ 47626 h 569649"/>
                      <a:gd name="connsiteX7" fmla="*/ 992982 w 1240632"/>
                      <a:gd name="connsiteY7" fmla="*/ 471489 h 569649"/>
                      <a:gd name="connsiteX8" fmla="*/ 1162050 w 1240632"/>
                      <a:gd name="connsiteY8" fmla="*/ 564358 h 569649"/>
                      <a:gd name="connsiteX9" fmla="*/ 1240632 w 1240632"/>
                      <a:gd name="connsiteY9" fmla="*/ 569120 h 569649"/>
                      <a:gd name="connsiteX0" fmla="*/ 0 w 1240632"/>
                      <a:gd name="connsiteY0" fmla="*/ 559621 h 564912"/>
                      <a:gd name="connsiteX1" fmla="*/ 102394 w 1240632"/>
                      <a:gd name="connsiteY1" fmla="*/ 554858 h 564912"/>
                      <a:gd name="connsiteX2" fmla="*/ 202407 w 1240632"/>
                      <a:gd name="connsiteY2" fmla="*/ 511996 h 564912"/>
                      <a:gd name="connsiteX3" fmla="*/ 311944 w 1240632"/>
                      <a:gd name="connsiteY3" fmla="*/ 388171 h 564912"/>
                      <a:gd name="connsiteX4" fmla="*/ 495300 w 1240632"/>
                      <a:gd name="connsiteY4" fmla="*/ 80990 h 564912"/>
                      <a:gd name="connsiteX5" fmla="*/ 607220 w 1240632"/>
                      <a:gd name="connsiteY5" fmla="*/ 27 h 564912"/>
                      <a:gd name="connsiteX6" fmla="*/ 747713 w 1240632"/>
                      <a:gd name="connsiteY6" fmla="*/ 85752 h 564912"/>
                      <a:gd name="connsiteX7" fmla="*/ 992982 w 1240632"/>
                      <a:gd name="connsiteY7" fmla="*/ 466752 h 564912"/>
                      <a:gd name="connsiteX8" fmla="*/ 1162050 w 1240632"/>
                      <a:gd name="connsiteY8" fmla="*/ 559621 h 564912"/>
                      <a:gd name="connsiteX9" fmla="*/ 1240632 w 1240632"/>
                      <a:gd name="connsiteY9" fmla="*/ 564383 h 564912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202407 w 1240632"/>
                      <a:gd name="connsiteY2" fmla="*/ 514374 h 567290"/>
                      <a:gd name="connsiteX3" fmla="*/ 311944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309563 w 1240632"/>
                      <a:gd name="connsiteY2" fmla="*/ 516756 h 567290"/>
                      <a:gd name="connsiteX3" fmla="*/ 311944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309563 w 1240632"/>
                      <a:gd name="connsiteY2" fmla="*/ 516756 h 567290"/>
                      <a:gd name="connsiteX3" fmla="*/ 431007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  <a:gd name="connsiteX0" fmla="*/ 0 w 1240632"/>
                      <a:gd name="connsiteY0" fmla="*/ 562015 h 567306"/>
                      <a:gd name="connsiteX1" fmla="*/ 102394 w 1240632"/>
                      <a:gd name="connsiteY1" fmla="*/ 557252 h 567306"/>
                      <a:gd name="connsiteX2" fmla="*/ 309563 w 1240632"/>
                      <a:gd name="connsiteY2" fmla="*/ 516772 h 567306"/>
                      <a:gd name="connsiteX3" fmla="*/ 431007 w 1240632"/>
                      <a:gd name="connsiteY3" fmla="*/ 390565 h 567306"/>
                      <a:gd name="connsiteX4" fmla="*/ 595313 w 1240632"/>
                      <a:gd name="connsiteY4" fmla="*/ 92909 h 567306"/>
                      <a:gd name="connsiteX5" fmla="*/ 626270 w 1240632"/>
                      <a:gd name="connsiteY5" fmla="*/ 39 h 567306"/>
                      <a:gd name="connsiteX6" fmla="*/ 747713 w 1240632"/>
                      <a:gd name="connsiteY6" fmla="*/ 88146 h 567306"/>
                      <a:gd name="connsiteX7" fmla="*/ 992982 w 1240632"/>
                      <a:gd name="connsiteY7" fmla="*/ 469146 h 567306"/>
                      <a:gd name="connsiteX8" fmla="*/ 1162050 w 1240632"/>
                      <a:gd name="connsiteY8" fmla="*/ 562015 h 567306"/>
                      <a:gd name="connsiteX9" fmla="*/ 1240632 w 1240632"/>
                      <a:gd name="connsiteY9" fmla="*/ 566777 h 567306"/>
                      <a:gd name="connsiteX0" fmla="*/ 0 w 1240632"/>
                      <a:gd name="connsiteY0" fmla="*/ 631038 h 636329"/>
                      <a:gd name="connsiteX1" fmla="*/ 102394 w 1240632"/>
                      <a:gd name="connsiteY1" fmla="*/ 626275 h 636329"/>
                      <a:gd name="connsiteX2" fmla="*/ 309563 w 1240632"/>
                      <a:gd name="connsiteY2" fmla="*/ 585795 h 636329"/>
                      <a:gd name="connsiteX3" fmla="*/ 431007 w 1240632"/>
                      <a:gd name="connsiteY3" fmla="*/ 459588 h 636329"/>
                      <a:gd name="connsiteX4" fmla="*/ 595313 w 1240632"/>
                      <a:gd name="connsiteY4" fmla="*/ 161932 h 636329"/>
                      <a:gd name="connsiteX5" fmla="*/ 742952 w 1240632"/>
                      <a:gd name="connsiteY5" fmla="*/ 6 h 636329"/>
                      <a:gd name="connsiteX6" fmla="*/ 747713 w 1240632"/>
                      <a:gd name="connsiteY6" fmla="*/ 157169 h 636329"/>
                      <a:gd name="connsiteX7" fmla="*/ 992982 w 1240632"/>
                      <a:gd name="connsiteY7" fmla="*/ 538169 h 636329"/>
                      <a:gd name="connsiteX8" fmla="*/ 1162050 w 1240632"/>
                      <a:gd name="connsiteY8" fmla="*/ 631038 h 636329"/>
                      <a:gd name="connsiteX9" fmla="*/ 1240632 w 1240632"/>
                      <a:gd name="connsiteY9" fmla="*/ 635800 h 636329"/>
                      <a:gd name="connsiteX0" fmla="*/ 0 w 1240632"/>
                      <a:gd name="connsiteY0" fmla="*/ 631034 h 636325"/>
                      <a:gd name="connsiteX1" fmla="*/ 102394 w 1240632"/>
                      <a:gd name="connsiteY1" fmla="*/ 626271 h 636325"/>
                      <a:gd name="connsiteX2" fmla="*/ 309563 w 1240632"/>
                      <a:gd name="connsiteY2" fmla="*/ 585791 h 636325"/>
                      <a:gd name="connsiteX3" fmla="*/ 431007 w 1240632"/>
                      <a:gd name="connsiteY3" fmla="*/ 459584 h 636325"/>
                      <a:gd name="connsiteX4" fmla="*/ 595313 w 1240632"/>
                      <a:gd name="connsiteY4" fmla="*/ 161928 h 636325"/>
                      <a:gd name="connsiteX5" fmla="*/ 742952 w 1240632"/>
                      <a:gd name="connsiteY5" fmla="*/ 2 h 636325"/>
                      <a:gd name="connsiteX6" fmla="*/ 885825 w 1240632"/>
                      <a:gd name="connsiteY6" fmla="*/ 164308 h 636325"/>
                      <a:gd name="connsiteX7" fmla="*/ 992982 w 1240632"/>
                      <a:gd name="connsiteY7" fmla="*/ 538165 h 636325"/>
                      <a:gd name="connsiteX8" fmla="*/ 1162050 w 1240632"/>
                      <a:gd name="connsiteY8" fmla="*/ 631034 h 636325"/>
                      <a:gd name="connsiteX9" fmla="*/ 1240632 w 1240632"/>
                      <a:gd name="connsiteY9" fmla="*/ 635796 h 636325"/>
                      <a:gd name="connsiteX0" fmla="*/ 0 w 1240632"/>
                      <a:gd name="connsiteY0" fmla="*/ 631034 h 644961"/>
                      <a:gd name="connsiteX1" fmla="*/ 102394 w 1240632"/>
                      <a:gd name="connsiteY1" fmla="*/ 626271 h 644961"/>
                      <a:gd name="connsiteX2" fmla="*/ 309563 w 1240632"/>
                      <a:gd name="connsiteY2" fmla="*/ 585791 h 644961"/>
                      <a:gd name="connsiteX3" fmla="*/ 431007 w 1240632"/>
                      <a:gd name="connsiteY3" fmla="*/ 459584 h 644961"/>
                      <a:gd name="connsiteX4" fmla="*/ 595313 w 1240632"/>
                      <a:gd name="connsiteY4" fmla="*/ 161928 h 644961"/>
                      <a:gd name="connsiteX5" fmla="*/ 742952 w 1240632"/>
                      <a:gd name="connsiteY5" fmla="*/ 2 h 644961"/>
                      <a:gd name="connsiteX6" fmla="*/ 885825 w 1240632"/>
                      <a:gd name="connsiteY6" fmla="*/ 164308 h 644961"/>
                      <a:gd name="connsiteX7" fmla="*/ 1021557 w 1240632"/>
                      <a:gd name="connsiteY7" fmla="*/ 469109 h 644961"/>
                      <a:gd name="connsiteX8" fmla="*/ 1162050 w 1240632"/>
                      <a:gd name="connsiteY8" fmla="*/ 631034 h 644961"/>
                      <a:gd name="connsiteX9" fmla="*/ 1240632 w 1240632"/>
                      <a:gd name="connsiteY9" fmla="*/ 635796 h 644961"/>
                      <a:gd name="connsiteX0" fmla="*/ 0 w 1240632"/>
                      <a:gd name="connsiteY0" fmla="*/ 631034 h 635814"/>
                      <a:gd name="connsiteX1" fmla="*/ 102394 w 1240632"/>
                      <a:gd name="connsiteY1" fmla="*/ 626271 h 635814"/>
                      <a:gd name="connsiteX2" fmla="*/ 309563 w 1240632"/>
                      <a:gd name="connsiteY2" fmla="*/ 585791 h 635814"/>
                      <a:gd name="connsiteX3" fmla="*/ 431007 w 1240632"/>
                      <a:gd name="connsiteY3" fmla="*/ 459584 h 635814"/>
                      <a:gd name="connsiteX4" fmla="*/ 595313 w 1240632"/>
                      <a:gd name="connsiteY4" fmla="*/ 161928 h 635814"/>
                      <a:gd name="connsiteX5" fmla="*/ 742952 w 1240632"/>
                      <a:gd name="connsiteY5" fmla="*/ 2 h 635814"/>
                      <a:gd name="connsiteX6" fmla="*/ 885825 w 1240632"/>
                      <a:gd name="connsiteY6" fmla="*/ 164308 h 635814"/>
                      <a:gd name="connsiteX7" fmla="*/ 1021557 w 1240632"/>
                      <a:gd name="connsiteY7" fmla="*/ 469109 h 635814"/>
                      <a:gd name="connsiteX8" fmla="*/ 1104900 w 1240632"/>
                      <a:gd name="connsiteY8" fmla="*/ 583409 h 635814"/>
                      <a:gd name="connsiteX9" fmla="*/ 1240632 w 1240632"/>
                      <a:gd name="connsiteY9" fmla="*/ 635796 h 635814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240632" h="635843">
                        <a:moveTo>
                          <a:pt x="0" y="631034"/>
                        </a:moveTo>
                        <a:lnTo>
                          <a:pt x="102394" y="626271"/>
                        </a:lnTo>
                        <a:cubicBezTo>
                          <a:pt x="153988" y="618731"/>
                          <a:pt x="254794" y="613572"/>
                          <a:pt x="309563" y="585791"/>
                        </a:cubicBezTo>
                        <a:cubicBezTo>
                          <a:pt x="364332" y="558010"/>
                          <a:pt x="383382" y="530228"/>
                          <a:pt x="431007" y="459584"/>
                        </a:cubicBezTo>
                        <a:cubicBezTo>
                          <a:pt x="478632" y="388940"/>
                          <a:pt x="550466" y="243287"/>
                          <a:pt x="595313" y="161928"/>
                        </a:cubicBezTo>
                        <a:cubicBezTo>
                          <a:pt x="640160" y="80569"/>
                          <a:pt x="665958" y="-395"/>
                          <a:pt x="742952" y="2"/>
                        </a:cubicBezTo>
                        <a:cubicBezTo>
                          <a:pt x="819946" y="399"/>
                          <a:pt x="844154" y="76599"/>
                          <a:pt x="885825" y="164308"/>
                        </a:cubicBezTo>
                        <a:cubicBezTo>
                          <a:pt x="927496" y="252017"/>
                          <a:pt x="985044" y="399259"/>
                          <a:pt x="1021557" y="469109"/>
                        </a:cubicBezTo>
                        <a:cubicBezTo>
                          <a:pt x="1058070" y="538959"/>
                          <a:pt x="1058863" y="538959"/>
                          <a:pt x="1104900" y="583409"/>
                        </a:cubicBezTo>
                        <a:cubicBezTo>
                          <a:pt x="1150937" y="627859"/>
                          <a:pt x="1215628" y="636590"/>
                          <a:pt x="1240632" y="635796"/>
                        </a:cubicBezTo>
                      </a:path>
                    </a:pathLst>
                  </a:custGeom>
                  <a:noFill/>
                  <a:ln w="25400">
                    <a:solidFill>
                      <a:srgbClr val="0DB04A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cxnSp>
              <p:nvCxnSpPr>
                <p:cNvPr id="26" name="Rechte verbindingslijn met pijl 25">
                  <a:extLst>
                    <a:ext uri="{FF2B5EF4-FFF2-40B4-BE49-F238E27FC236}">
                      <a16:creationId xmlns:a16="http://schemas.microsoft.com/office/drawing/2014/main" id="{86C69DCD-6461-4D64-B584-8FF87817B051}"/>
                    </a:ext>
                  </a:extLst>
                </p:cNvPr>
                <p:cNvCxnSpPr/>
                <p:nvPr/>
              </p:nvCxnSpPr>
              <p:spPr>
                <a:xfrm>
                  <a:off x="8467272" y="1352550"/>
                  <a:ext cx="279493" cy="0"/>
                </a:xfrm>
                <a:prstGeom prst="straightConnector1">
                  <a:avLst/>
                </a:prstGeom>
                <a:ln w="19050">
                  <a:solidFill>
                    <a:srgbClr val="0DB04A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4" name="Groep 133">
                <a:extLst>
                  <a:ext uri="{FF2B5EF4-FFF2-40B4-BE49-F238E27FC236}">
                    <a16:creationId xmlns:a16="http://schemas.microsoft.com/office/drawing/2014/main" id="{640BCEF8-9C12-4237-9AF0-335A74745760}"/>
                  </a:ext>
                </a:extLst>
              </p:cNvPr>
              <p:cNvGrpSpPr/>
              <p:nvPr/>
            </p:nvGrpSpPr>
            <p:grpSpPr>
              <a:xfrm>
                <a:off x="7876050" y="2438544"/>
                <a:ext cx="1372428" cy="791156"/>
                <a:chOff x="7908097" y="1352550"/>
                <a:chExt cx="1372428" cy="791156"/>
              </a:xfrm>
            </p:grpSpPr>
            <p:grpSp>
              <p:nvGrpSpPr>
                <p:cNvPr id="139" name="Groep 138">
                  <a:extLst>
                    <a:ext uri="{FF2B5EF4-FFF2-40B4-BE49-F238E27FC236}">
                      <a16:creationId xmlns:a16="http://schemas.microsoft.com/office/drawing/2014/main" id="{9CB9C116-DFB7-4748-8A97-5C3EC13ED4F1}"/>
                    </a:ext>
                  </a:extLst>
                </p:cNvPr>
                <p:cNvGrpSpPr/>
                <p:nvPr/>
              </p:nvGrpSpPr>
              <p:grpSpPr>
                <a:xfrm>
                  <a:off x="7908097" y="1459638"/>
                  <a:ext cx="1372428" cy="684068"/>
                  <a:chOff x="7908097" y="1514475"/>
                  <a:chExt cx="1372428" cy="684068"/>
                </a:xfrm>
              </p:grpSpPr>
              <p:grpSp>
                <p:nvGrpSpPr>
                  <p:cNvPr id="141" name="Groep 140">
                    <a:extLst>
                      <a:ext uri="{FF2B5EF4-FFF2-40B4-BE49-F238E27FC236}">
                        <a16:creationId xmlns:a16="http://schemas.microsoft.com/office/drawing/2014/main" id="{97F80420-220E-4B86-AADE-CB2EE9444A8A}"/>
                      </a:ext>
                    </a:extLst>
                  </p:cNvPr>
                  <p:cNvGrpSpPr/>
                  <p:nvPr/>
                </p:nvGrpSpPr>
                <p:grpSpPr>
                  <a:xfrm>
                    <a:off x="7908097" y="1514475"/>
                    <a:ext cx="1372428" cy="684068"/>
                    <a:chOff x="6085397" y="1406933"/>
                    <a:chExt cx="1372428" cy="684068"/>
                  </a:xfrm>
                </p:grpSpPr>
                <p:cxnSp>
                  <p:nvCxnSpPr>
                    <p:cNvPr id="145" name="Rechte verbindingslijn 144">
                      <a:extLst>
                        <a:ext uri="{FF2B5EF4-FFF2-40B4-BE49-F238E27FC236}">
                          <a16:creationId xmlns:a16="http://schemas.microsoft.com/office/drawing/2014/main" id="{FC6A0A80-D80A-4A16-B81B-52C200244FD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6088572" y="1406933"/>
                      <a:ext cx="0" cy="684068"/>
                    </a:xfrm>
                    <a:prstGeom prst="line">
                      <a:avLst/>
                    </a:prstGeom>
                    <a:ln w="12700">
                      <a:solidFill>
                        <a:schemeClr val="accent3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6" name="Rechte verbindingslijn 145">
                      <a:extLst>
                        <a:ext uri="{FF2B5EF4-FFF2-40B4-BE49-F238E27FC236}">
                          <a16:creationId xmlns:a16="http://schemas.microsoft.com/office/drawing/2014/main" id="{EC1D90CD-8EC5-477B-B6F1-024F271A12F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 flipV="1">
                      <a:off x="6085397" y="2087826"/>
                      <a:ext cx="1372428" cy="3175"/>
                    </a:xfrm>
                    <a:prstGeom prst="line">
                      <a:avLst/>
                    </a:prstGeom>
                    <a:ln w="12700">
                      <a:solidFill>
                        <a:schemeClr val="accent3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42" name="Vrije vorm: vorm 141">
                    <a:extLst>
                      <a:ext uri="{FF2B5EF4-FFF2-40B4-BE49-F238E27FC236}">
                        <a16:creationId xmlns:a16="http://schemas.microsoft.com/office/drawing/2014/main" id="{35D0C876-2603-46A8-BB99-E736E45F4EA6}"/>
                      </a:ext>
                    </a:extLst>
                  </p:cNvPr>
                  <p:cNvSpPr/>
                  <p:nvPr/>
                </p:nvSpPr>
                <p:spPr>
                  <a:xfrm>
                    <a:off x="7965281" y="1607319"/>
                    <a:ext cx="1240632" cy="567290"/>
                  </a:xfrm>
                  <a:custGeom>
                    <a:avLst/>
                    <a:gdLst>
                      <a:gd name="connsiteX0" fmla="*/ 0 w 1240632"/>
                      <a:gd name="connsiteY0" fmla="*/ 560685 h 565976"/>
                      <a:gd name="connsiteX1" fmla="*/ 102394 w 1240632"/>
                      <a:gd name="connsiteY1" fmla="*/ 555922 h 565976"/>
                      <a:gd name="connsiteX2" fmla="*/ 202407 w 1240632"/>
                      <a:gd name="connsiteY2" fmla="*/ 513060 h 565976"/>
                      <a:gd name="connsiteX3" fmla="*/ 311944 w 1240632"/>
                      <a:gd name="connsiteY3" fmla="*/ 389235 h 565976"/>
                      <a:gd name="connsiteX4" fmla="*/ 495300 w 1240632"/>
                      <a:gd name="connsiteY4" fmla="*/ 82054 h 565976"/>
                      <a:gd name="connsiteX5" fmla="*/ 573882 w 1240632"/>
                      <a:gd name="connsiteY5" fmla="*/ 17760 h 565976"/>
                      <a:gd name="connsiteX6" fmla="*/ 621507 w 1240632"/>
                      <a:gd name="connsiteY6" fmla="*/ 1091 h 565976"/>
                      <a:gd name="connsiteX7" fmla="*/ 726282 w 1240632"/>
                      <a:gd name="connsiteY7" fmla="*/ 41572 h 565976"/>
                      <a:gd name="connsiteX8" fmla="*/ 833438 w 1240632"/>
                      <a:gd name="connsiteY8" fmla="*/ 213022 h 565976"/>
                      <a:gd name="connsiteX9" fmla="*/ 912019 w 1240632"/>
                      <a:gd name="connsiteY9" fmla="*/ 339229 h 565976"/>
                      <a:gd name="connsiteX10" fmla="*/ 992982 w 1240632"/>
                      <a:gd name="connsiteY10" fmla="*/ 467816 h 565976"/>
                      <a:gd name="connsiteX11" fmla="*/ 1069182 w 1240632"/>
                      <a:gd name="connsiteY11" fmla="*/ 527347 h 565976"/>
                      <a:gd name="connsiteX12" fmla="*/ 1162050 w 1240632"/>
                      <a:gd name="connsiteY12" fmla="*/ 560685 h 565976"/>
                      <a:gd name="connsiteX13" fmla="*/ 1240632 w 1240632"/>
                      <a:gd name="connsiteY13" fmla="*/ 565447 h 565976"/>
                      <a:gd name="connsiteX0" fmla="*/ 0 w 1240632"/>
                      <a:gd name="connsiteY0" fmla="*/ 560834 h 566125"/>
                      <a:gd name="connsiteX1" fmla="*/ 102394 w 1240632"/>
                      <a:gd name="connsiteY1" fmla="*/ 556071 h 566125"/>
                      <a:gd name="connsiteX2" fmla="*/ 202407 w 1240632"/>
                      <a:gd name="connsiteY2" fmla="*/ 513209 h 566125"/>
                      <a:gd name="connsiteX3" fmla="*/ 311944 w 1240632"/>
                      <a:gd name="connsiteY3" fmla="*/ 389384 h 566125"/>
                      <a:gd name="connsiteX4" fmla="*/ 495300 w 1240632"/>
                      <a:gd name="connsiteY4" fmla="*/ 82203 h 566125"/>
                      <a:gd name="connsiteX5" fmla="*/ 573882 w 1240632"/>
                      <a:gd name="connsiteY5" fmla="*/ 17909 h 566125"/>
                      <a:gd name="connsiteX6" fmla="*/ 621507 w 1240632"/>
                      <a:gd name="connsiteY6" fmla="*/ 1240 h 566125"/>
                      <a:gd name="connsiteX7" fmla="*/ 711994 w 1240632"/>
                      <a:gd name="connsiteY7" fmla="*/ 44102 h 566125"/>
                      <a:gd name="connsiteX8" fmla="*/ 833438 w 1240632"/>
                      <a:gd name="connsiteY8" fmla="*/ 213171 h 566125"/>
                      <a:gd name="connsiteX9" fmla="*/ 912019 w 1240632"/>
                      <a:gd name="connsiteY9" fmla="*/ 339378 h 566125"/>
                      <a:gd name="connsiteX10" fmla="*/ 992982 w 1240632"/>
                      <a:gd name="connsiteY10" fmla="*/ 467965 h 566125"/>
                      <a:gd name="connsiteX11" fmla="*/ 1069182 w 1240632"/>
                      <a:gd name="connsiteY11" fmla="*/ 527496 h 566125"/>
                      <a:gd name="connsiteX12" fmla="*/ 1162050 w 1240632"/>
                      <a:gd name="connsiteY12" fmla="*/ 560834 h 566125"/>
                      <a:gd name="connsiteX13" fmla="*/ 1240632 w 1240632"/>
                      <a:gd name="connsiteY13" fmla="*/ 565596 h 566125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21507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07220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0341 h 565632"/>
                      <a:gd name="connsiteX1" fmla="*/ 102394 w 1240632"/>
                      <a:gd name="connsiteY1" fmla="*/ 555578 h 565632"/>
                      <a:gd name="connsiteX2" fmla="*/ 202407 w 1240632"/>
                      <a:gd name="connsiteY2" fmla="*/ 512716 h 565632"/>
                      <a:gd name="connsiteX3" fmla="*/ 311944 w 1240632"/>
                      <a:gd name="connsiteY3" fmla="*/ 388891 h 565632"/>
                      <a:gd name="connsiteX4" fmla="*/ 495300 w 1240632"/>
                      <a:gd name="connsiteY4" fmla="*/ 81710 h 565632"/>
                      <a:gd name="connsiteX5" fmla="*/ 607220 w 1240632"/>
                      <a:gd name="connsiteY5" fmla="*/ 747 h 565632"/>
                      <a:gd name="connsiteX6" fmla="*/ 711994 w 1240632"/>
                      <a:gd name="connsiteY6" fmla="*/ 43609 h 565632"/>
                      <a:gd name="connsiteX7" fmla="*/ 833438 w 1240632"/>
                      <a:gd name="connsiteY7" fmla="*/ 212678 h 565632"/>
                      <a:gd name="connsiteX8" fmla="*/ 912019 w 1240632"/>
                      <a:gd name="connsiteY8" fmla="*/ 338885 h 565632"/>
                      <a:gd name="connsiteX9" fmla="*/ 992982 w 1240632"/>
                      <a:gd name="connsiteY9" fmla="*/ 467472 h 565632"/>
                      <a:gd name="connsiteX10" fmla="*/ 1069182 w 1240632"/>
                      <a:gd name="connsiteY10" fmla="*/ 527003 h 565632"/>
                      <a:gd name="connsiteX11" fmla="*/ 1162050 w 1240632"/>
                      <a:gd name="connsiteY11" fmla="*/ 560341 h 565632"/>
                      <a:gd name="connsiteX12" fmla="*/ 1240632 w 1240632"/>
                      <a:gd name="connsiteY12" fmla="*/ 565103 h 565632"/>
                      <a:gd name="connsiteX0" fmla="*/ 0 w 1240632"/>
                      <a:gd name="connsiteY0" fmla="*/ 562772 h 568063"/>
                      <a:gd name="connsiteX1" fmla="*/ 102394 w 1240632"/>
                      <a:gd name="connsiteY1" fmla="*/ 558009 h 568063"/>
                      <a:gd name="connsiteX2" fmla="*/ 202407 w 1240632"/>
                      <a:gd name="connsiteY2" fmla="*/ 515147 h 568063"/>
                      <a:gd name="connsiteX3" fmla="*/ 311944 w 1240632"/>
                      <a:gd name="connsiteY3" fmla="*/ 391322 h 568063"/>
                      <a:gd name="connsiteX4" fmla="*/ 495300 w 1240632"/>
                      <a:gd name="connsiteY4" fmla="*/ 84141 h 568063"/>
                      <a:gd name="connsiteX5" fmla="*/ 607220 w 1240632"/>
                      <a:gd name="connsiteY5" fmla="*/ 3178 h 568063"/>
                      <a:gd name="connsiteX6" fmla="*/ 711994 w 1240632"/>
                      <a:gd name="connsiteY6" fmla="*/ 46040 h 568063"/>
                      <a:gd name="connsiteX7" fmla="*/ 912019 w 1240632"/>
                      <a:gd name="connsiteY7" fmla="*/ 341316 h 568063"/>
                      <a:gd name="connsiteX8" fmla="*/ 992982 w 1240632"/>
                      <a:gd name="connsiteY8" fmla="*/ 469903 h 568063"/>
                      <a:gd name="connsiteX9" fmla="*/ 1069182 w 1240632"/>
                      <a:gd name="connsiteY9" fmla="*/ 529434 h 568063"/>
                      <a:gd name="connsiteX10" fmla="*/ 1162050 w 1240632"/>
                      <a:gd name="connsiteY10" fmla="*/ 562772 h 568063"/>
                      <a:gd name="connsiteX11" fmla="*/ 1240632 w 1240632"/>
                      <a:gd name="connsiteY11" fmla="*/ 567534 h 568063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069182 w 1240632"/>
                      <a:gd name="connsiteY8" fmla="*/ 535653 h 574282"/>
                      <a:gd name="connsiteX9" fmla="*/ 1162050 w 1240632"/>
                      <a:gd name="connsiteY9" fmla="*/ 568991 h 574282"/>
                      <a:gd name="connsiteX10" fmla="*/ 1240632 w 1240632"/>
                      <a:gd name="connsiteY10" fmla="*/ 573753 h 574282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162050 w 1240632"/>
                      <a:gd name="connsiteY8" fmla="*/ 568991 h 574282"/>
                      <a:gd name="connsiteX9" fmla="*/ 1240632 w 1240632"/>
                      <a:gd name="connsiteY9" fmla="*/ 573753 h 574282"/>
                      <a:gd name="connsiteX0" fmla="*/ 0 w 1240632"/>
                      <a:gd name="connsiteY0" fmla="*/ 564358 h 569649"/>
                      <a:gd name="connsiteX1" fmla="*/ 102394 w 1240632"/>
                      <a:gd name="connsiteY1" fmla="*/ 559595 h 569649"/>
                      <a:gd name="connsiteX2" fmla="*/ 202407 w 1240632"/>
                      <a:gd name="connsiteY2" fmla="*/ 516733 h 569649"/>
                      <a:gd name="connsiteX3" fmla="*/ 311944 w 1240632"/>
                      <a:gd name="connsiteY3" fmla="*/ 392908 h 569649"/>
                      <a:gd name="connsiteX4" fmla="*/ 495300 w 1240632"/>
                      <a:gd name="connsiteY4" fmla="*/ 85727 h 569649"/>
                      <a:gd name="connsiteX5" fmla="*/ 607220 w 1240632"/>
                      <a:gd name="connsiteY5" fmla="*/ 4764 h 569649"/>
                      <a:gd name="connsiteX6" fmla="*/ 711994 w 1240632"/>
                      <a:gd name="connsiteY6" fmla="*/ 47626 h 569649"/>
                      <a:gd name="connsiteX7" fmla="*/ 992982 w 1240632"/>
                      <a:gd name="connsiteY7" fmla="*/ 471489 h 569649"/>
                      <a:gd name="connsiteX8" fmla="*/ 1162050 w 1240632"/>
                      <a:gd name="connsiteY8" fmla="*/ 564358 h 569649"/>
                      <a:gd name="connsiteX9" fmla="*/ 1240632 w 1240632"/>
                      <a:gd name="connsiteY9" fmla="*/ 569120 h 569649"/>
                      <a:gd name="connsiteX0" fmla="*/ 0 w 1240632"/>
                      <a:gd name="connsiteY0" fmla="*/ 559621 h 564912"/>
                      <a:gd name="connsiteX1" fmla="*/ 102394 w 1240632"/>
                      <a:gd name="connsiteY1" fmla="*/ 554858 h 564912"/>
                      <a:gd name="connsiteX2" fmla="*/ 202407 w 1240632"/>
                      <a:gd name="connsiteY2" fmla="*/ 511996 h 564912"/>
                      <a:gd name="connsiteX3" fmla="*/ 311944 w 1240632"/>
                      <a:gd name="connsiteY3" fmla="*/ 388171 h 564912"/>
                      <a:gd name="connsiteX4" fmla="*/ 495300 w 1240632"/>
                      <a:gd name="connsiteY4" fmla="*/ 80990 h 564912"/>
                      <a:gd name="connsiteX5" fmla="*/ 607220 w 1240632"/>
                      <a:gd name="connsiteY5" fmla="*/ 27 h 564912"/>
                      <a:gd name="connsiteX6" fmla="*/ 747713 w 1240632"/>
                      <a:gd name="connsiteY6" fmla="*/ 85752 h 564912"/>
                      <a:gd name="connsiteX7" fmla="*/ 992982 w 1240632"/>
                      <a:gd name="connsiteY7" fmla="*/ 466752 h 564912"/>
                      <a:gd name="connsiteX8" fmla="*/ 1162050 w 1240632"/>
                      <a:gd name="connsiteY8" fmla="*/ 559621 h 564912"/>
                      <a:gd name="connsiteX9" fmla="*/ 1240632 w 1240632"/>
                      <a:gd name="connsiteY9" fmla="*/ 564383 h 564912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202407 w 1240632"/>
                      <a:gd name="connsiteY2" fmla="*/ 514374 h 567290"/>
                      <a:gd name="connsiteX3" fmla="*/ 311944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240632" h="567290">
                        <a:moveTo>
                          <a:pt x="0" y="561999"/>
                        </a:moveTo>
                        <a:lnTo>
                          <a:pt x="102394" y="557236"/>
                        </a:lnTo>
                        <a:cubicBezTo>
                          <a:pt x="136128" y="549299"/>
                          <a:pt x="167482" y="542155"/>
                          <a:pt x="202407" y="514374"/>
                        </a:cubicBezTo>
                        <a:cubicBezTo>
                          <a:pt x="237332" y="486593"/>
                          <a:pt x="263129" y="462383"/>
                          <a:pt x="311944" y="390549"/>
                        </a:cubicBezTo>
                        <a:cubicBezTo>
                          <a:pt x="360760" y="318715"/>
                          <a:pt x="442912" y="148456"/>
                          <a:pt x="495300" y="83368"/>
                        </a:cubicBezTo>
                        <a:cubicBezTo>
                          <a:pt x="547688" y="18280"/>
                          <a:pt x="584201" y="-771"/>
                          <a:pt x="626270" y="23"/>
                        </a:cubicBezTo>
                        <a:cubicBezTo>
                          <a:pt x="668339" y="817"/>
                          <a:pt x="686594" y="9946"/>
                          <a:pt x="747713" y="88130"/>
                        </a:cubicBezTo>
                        <a:cubicBezTo>
                          <a:pt x="808832" y="166314"/>
                          <a:pt x="923926" y="390152"/>
                          <a:pt x="992982" y="469130"/>
                        </a:cubicBezTo>
                        <a:cubicBezTo>
                          <a:pt x="1062038" y="548108"/>
                          <a:pt x="1120775" y="545727"/>
                          <a:pt x="1162050" y="561999"/>
                        </a:cubicBezTo>
                        <a:cubicBezTo>
                          <a:pt x="1190625" y="568349"/>
                          <a:pt x="1215628" y="567555"/>
                          <a:pt x="1240632" y="566761"/>
                        </a:cubicBezTo>
                      </a:path>
                    </a:pathLst>
                  </a:custGeom>
                  <a:noFill/>
                  <a:ln w="25400">
                    <a:solidFill>
                      <a:srgbClr val="76717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44" name="Vrije vorm: vorm 143">
                    <a:extLst>
                      <a:ext uri="{FF2B5EF4-FFF2-40B4-BE49-F238E27FC236}">
                        <a16:creationId xmlns:a16="http://schemas.microsoft.com/office/drawing/2014/main" id="{9F6BCE6C-AEA1-4226-BD5B-01A820754B61}"/>
                      </a:ext>
                    </a:extLst>
                  </p:cNvPr>
                  <p:cNvSpPr/>
                  <p:nvPr/>
                </p:nvSpPr>
                <p:spPr>
                  <a:xfrm flipH="1">
                    <a:off x="7969099" y="1539445"/>
                    <a:ext cx="1240632" cy="635843"/>
                  </a:xfrm>
                  <a:custGeom>
                    <a:avLst/>
                    <a:gdLst>
                      <a:gd name="connsiteX0" fmla="*/ 0 w 1240632"/>
                      <a:gd name="connsiteY0" fmla="*/ 560685 h 565976"/>
                      <a:gd name="connsiteX1" fmla="*/ 102394 w 1240632"/>
                      <a:gd name="connsiteY1" fmla="*/ 555922 h 565976"/>
                      <a:gd name="connsiteX2" fmla="*/ 202407 w 1240632"/>
                      <a:gd name="connsiteY2" fmla="*/ 513060 h 565976"/>
                      <a:gd name="connsiteX3" fmla="*/ 311944 w 1240632"/>
                      <a:gd name="connsiteY3" fmla="*/ 389235 h 565976"/>
                      <a:gd name="connsiteX4" fmla="*/ 495300 w 1240632"/>
                      <a:gd name="connsiteY4" fmla="*/ 82054 h 565976"/>
                      <a:gd name="connsiteX5" fmla="*/ 573882 w 1240632"/>
                      <a:gd name="connsiteY5" fmla="*/ 17760 h 565976"/>
                      <a:gd name="connsiteX6" fmla="*/ 621507 w 1240632"/>
                      <a:gd name="connsiteY6" fmla="*/ 1091 h 565976"/>
                      <a:gd name="connsiteX7" fmla="*/ 726282 w 1240632"/>
                      <a:gd name="connsiteY7" fmla="*/ 41572 h 565976"/>
                      <a:gd name="connsiteX8" fmla="*/ 833438 w 1240632"/>
                      <a:gd name="connsiteY8" fmla="*/ 213022 h 565976"/>
                      <a:gd name="connsiteX9" fmla="*/ 912019 w 1240632"/>
                      <a:gd name="connsiteY9" fmla="*/ 339229 h 565976"/>
                      <a:gd name="connsiteX10" fmla="*/ 992982 w 1240632"/>
                      <a:gd name="connsiteY10" fmla="*/ 467816 h 565976"/>
                      <a:gd name="connsiteX11" fmla="*/ 1069182 w 1240632"/>
                      <a:gd name="connsiteY11" fmla="*/ 527347 h 565976"/>
                      <a:gd name="connsiteX12" fmla="*/ 1162050 w 1240632"/>
                      <a:gd name="connsiteY12" fmla="*/ 560685 h 565976"/>
                      <a:gd name="connsiteX13" fmla="*/ 1240632 w 1240632"/>
                      <a:gd name="connsiteY13" fmla="*/ 565447 h 565976"/>
                      <a:gd name="connsiteX0" fmla="*/ 0 w 1240632"/>
                      <a:gd name="connsiteY0" fmla="*/ 560834 h 566125"/>
                      <a:gd name="connsiteX1" fmla="*/ 102394 w 1240632"/>
                      <a:gd name="connsiteY1" fmla="*/ 556071 h 566125"/>
                      <a:gd name="connsiteX2" fmla="*/ 202407 w 1240632"/>
                      <a:gd name="connsiteY2" fmla="*/ 513209 h 566125"/>
                      <a:gd name="connsiteX3" fmla="*/ 311944 w 1240632"/>
                      <a:gd name="connsiteY3" fmla="*/ 389384 h 566125"/>
                      <a:gd name="connsiteX4" fmla="*/ 495300 w 1240632"/>
                      <a:gd name="connsiteY4" fmla="*/ 82203 h 566125"/>
                      <a:gd name="connsiteX5" fmla="*/ 573882 w 1240632"/>
                      <a:gd name="connsiteY5" fmla="*/ 17909 h 566125"/>
                      <a:gd name="connsiteX6" fmla="*/ 621507 w 1240632"/>
                      <a:gd name="connsiteY6" fmla="*/ 1240 h 566125"/>
                      <a:gd name="connsiteX7" fmla="*/ 711994 w 1240632"/>
                      <a:gd name="connsiteY7" fmla="*/ 44102 h 566125"/>
                      <a:gd name="connsiteX8" fmla="*/ 833438 w 1240632"/>
                      <a:gd name="connsiteY8" fmla="*/ 213171 h 566125"/>
                      <a:gd name="connsiteX9" fmla="*/ 912019 w 1240632"/>
                      <a:gd name="connsiteY9" fmla="*/ 339378 h 566125"/>
                      <a:gd name="connsiteX10" fmla="*/ 992982 w 1240632"/>
                      <a:gd name="connsiteY10" fmla="*/ 467965 h 566125"/>
                      <a:gd name="connsiteX11" fmla="*/ 1069182 w 1240632"/>
                      <a:gd name="connsiteY11" fmla="*/ 527496 h 566125"/>
                      <a:gd name="connsiteX12" fmla="*/ 1162050 w 1240632"/>
                      <a:gd name="connsiteY12" fmla="*/ 560834 h 566125"/>
                      <a:gd name="connsiteX13" fmla="*/ 1240632 w 1240632"/>
                      <a:gd name="connsiteY13" fmla="*/ 565596 h 566125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21507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1083 h 566374"/>
                      <a:gd name="connsiteX1" fmla="*/ 102394 w 1240632"/>
                      <a:gd name="connsiteY1" fmla="*/ 556320 h 566374"/>
                      <a:gd name="connsiteX2" fmla="*/ 202407 w 1240632"/>
                      <a:gd name="connsiteY2" fmla="*/ 513458 h 566374"/>
                      <a:gd name="connsiteX3" fmla="*/ 311944 w 1240632"/>
                      <a:gd name="connsiteY3" fmla="*/ 389633 h 566374"/>
                      <a:gd name="connsiteX4" fmla="*/ 495300 w 1240632"/>
                      <a:gd name="connsiteY4" fmla="*/ 82452 h 566374"/>
                      <a:gd name="connsiteX5" fmla="*/ 607220 w 1240632"/>
                      <a:gd name="connsiteY5" fmla="*/ 1489 h 566374"/>
                      <a:gd name="connsiteX6" fmla="*/ 711994 w 1240632"/>
                      <a:gd name="connsiteY6" fmla="*/ 44351 h 566374"/>
                      <a:gd name="connsiteX7" fmla="*/ 833438 w 1240632"/>
                      <a:gd name="connsiteY7" fmla="*/ 213420 h 566374"/>
                      <a:gd name="connsiteX8" fmla="*/ 912019 w 1240632"/>
                      <a:gd name="connsiteY8" fmla="*/ 339627 h 566374"/>
                      <a:gd name="connsiteX9" fmla="*/ 992982 w 1240632"/>
                      <a:gd name="connsiteY9" fmla="*/ 468214 h 566374"/>
                      <a:gd name="connsiteX10" fmla="*/ 1069182 w 1240632"/>
                      <a:gd name="connsiteY10" fmla="*/ 527745 h 566374"/>
                      <a:gd name="connsiteX11" fmla="*/ 1162050 w 1240632"/>
                      <a:gd name="connsiteY11" fmla="*/ 561083 h 566374"/>
                      <a:gd name="connsiteX12" fmla="*/ 1240632 w 1240632"/>
                      <a:gd name="connsiteY12" fmla="*/ 565845 h 566374"/>
                      <a:gd name="connsiteX0" fmla="*/ 0 w 1240632"/>
                      <a:gd name="connsiteY0" fmla="*/ 560341 h 565632"/>
                      <a:gd name="connsiteX1" fmla="*/ 102394 w 1240632"/>
                      <a:gd name="connsiteY1" fmla="*/ 555578 h 565632"/>
                      <a:gd name="connsiteX2" fmla="*/ 202407 w 1240632"/>
                      <a:gd name="connsiteY2" fmla="*/ 512716 h 565632"/>
                      <a:gd name="connsiteX3" fmla="*/ 311944 w 1240632"/>
                      <a:gd name="connsiteY3" fmla="*/ 388891 h 565632"/>
                      <a:gd name="connsiteX4" fmla="*/ 495300 w 1240632"/>
                      <a:gd name="connsiteY4" fmla="*/ 81710 h 565632"/>
                      <a:gd name="connsiteX5" fmla="*/ 607220 w 1240632"/>
                      <a:gd name="connsiteY5" fmla="*/ 747 h 565632"/>
                      <a:gd name="connsiteX6" fmla="*/ 711994 w 1240632"/>
                      <a:gd name="connsiteY6" fmla="*/ 43609 h 565632"/>
                      <a:gd name="connsiteX7" fmla="*/ 833438 w 1240632"/>
                      <a:gd name="connsiteY7" fmla="*/ 212678 h 565632"/>
                      <a:gd name="connsiteX8" fmla="*/ 912019 w 1240632"/>
                      <a:gd name="connsiteY8" fmla="*/ 338885 h 565632"/>
                      <a:gd name="connsiteX9" fmla="*/ 992982 w 1240632"/>
                      <a:gd name="connsiteY9" fmla="*/ 467472 h 565632"/>
                      <a:gd name="connsiteX10" fmla="*/ 1069182 w 1240632"/>
                      <a:gd name="connsiteY10" fmla="*/ 527003 h 565632"/>
                      <a:gd name="connsiteX11" fmla="*/ 1162050 w 1240632"/>
                      <a:gd name="connsiteY11" fmla="*/ 560341 h 565632"/>
                      <a:gd name="connsiteX12" fmla="*/ 1240632 w 1240632"/>
                      <a:gd name="connsiteY12" fmla="*/ 565103 h 565632"/>
                      <a:gd name="connsiteX0" fmla="*/ 0 w 1240632"/>
                      <a:gd name="connsiteY0" fmla="*/ 562772 h 568063"/>
                      <a:gd name="connsiteX1" fmla="*/ 102394 w 1240632"/>
                      <a:gd name="connsiteY1" fmla="*/ 558009 h 568063"/>
                      <a:gd name="connsiteX2" fmla="*/ 202407 w 1240632"/>
                      <a:gd name="connsiteY2" fmla="*/ 515147 h 568063"/>
                      <a:gd name="connsiteX3" fmla="*/ 311944 w 1240632"/>
                      <a:gd name="connsiteY3" fmla="*/ 391322 h 568063"/>
                      <a:gd name="connsiteX4" fmla="*/ 495300 w 1240632"/>
                      <a:gd name="connsiteY4" fmla="*/ 84141 h 568063"/>
                      <a:gd name="connsiteX5" fmla="*/ 607220 w 1240632"/>
                      <a:gd name="connsiteY5" fmla="*/ 3178 h 568063"/>
                      <a:gd name="connsiteX6" fmla="*/ 711994 w 1240632"/>
                      <a:gd name="connsiteY6" fmla="*/ 46040 h 568063"/>
                      <a:gd name="connsiteX7" fmla="*/ 912019 w 1240632"/>
                      <a:gd name="connsiteY7" fmla="*/ 341316 h 568063"/>
                      <a:gd name="connsiteX8" fmla="*/ 992982 w 1240632"/>
                      <a:gd name="connsiteY8" fmla="*/ 469903 h 568063"/>
                      <a:gd name="connsiteX9" fmla="*/ 1069182 w 1240632"/>
                      <a:gd name="connsiteY9" fmla="*/ 529434 h 568063"/>
                      <a:gd name="connsiteX10" fmla="*/ 1162050 w 1240632"/>
                      <a:gd name="connsiteY10" fmla="*/ 562772 h 568063"/>
                      <a:gd name="connsiteX11" fmla="*/ 1240632 w 1240632"/>
                      <a:gd name="connsiteY11" fmla="*/ 567534 h 568063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069182 w 1240632"/>
                      <a:gd name="connsiteY8" fmla="*/ 535653 h 574282"/>
                      <a:gd name="connsiteX9" fmla="*/ 1162050 w 1240632"/>
                      <a:gd name="connsiteY9" fmla="*/ 568991 h 574282"/>
                      <a:gd name="connsiteX10" fmla="*/ 1240632 w 1240632"/>
                      <a:gd name="connsiteY10" fmla="*/ 573753 h 574282"/>
                      <a:gd name="connsiteX0" fmla="*/ 0 w 1240632"/>
                      <a:gd name="connsiteY0" fmla="*/ 568991 h 574282"/>
                      <a:gd name="connsiteX1" fmla="*/ 102394 w 1240632"/>
                      <a:gd name="connsiteY1" fmla="*/ 564228 h 574282"/>
                      <a:gd name="connsiteX2" fmla="*/ 202407 w 1240632"/>
                      <a:gd name="connsiteY2" fmla="*/ 521366 h 574282"/>
                      <a:gd name="connsiteX3" fmla="*/ 311944 w 1240632"/>
                      <a:gd name="connsiteY3" fmla="*/ 397541 h 574282"/>
                      <a:gd name="connsiteX4" fmla="*/ 495300 w 1240632"/>
                      <a:gd name="connsiteY4" fmla="*/ 90360 h 574282"/>
                      <a:gd name="connsiteX5" fmla="*/ 607220 w 1240632"/>
                      <a:gd name="connsiteY5" fmla="*/ 9397 h 574282"/>
                      <a:gd name="connsiteX6" fmla="*/ 711994 w 1240632"/>
                      <a:gd name="connsiteY6" fmla="*/ 52259 h 574282"/>
                      <a:gd name="connsiteX7" fmla="*/ 992982 w 1240632"/>
                      <a:gd name="connsiteY7" fmla="*/ 476122 h 574282"/>
                      <a:gd name="connsiteX8" fmla="*/ 1162050 w 1240632"/>
                      <a:gd name="connsiteY8" fmla="*/ 568991 h 574282"/>
                      <a:gd name="connsiteX9" fmla="*/ 1240632 w 1240632"/>
                      <a:gd name="connsiteY9" fmla="*/ 573753 h 574282"/>
                      <a:gd name="connsiteX0" fmla="*/ 0 w 1240632"/>
                      <a:gd name="connsiteY0" fmla="*/ 564358 h 569649"/>
                      <a:gd name="connsiteX1" fmla="*/ 102394 w 1240632"/>
                      <a:gd name="connsiteY1" fmla="*/ 559595 h 569649"/>
                      <a:gd name="connsiteX2" fmla="*/ 202407 w 1240632"/>
                      <a:gd name="connsiteY2" fmla="*/ 516733 h 569649"/>
                      <a:gd name="connsiteX3" fmla="*/ 311944 w 1240632"/>
                      <a:gd name="connsiteY3" fmla="*/ 392908 h 569649"/>
                      <a:gd name="connsiteX4" fmla="*/ 495300 w 1240632"/>
                      <a:gd name="connsiteY4" fmla="*/ 85727 h 569649"/>
                      <a:gd name="connsiteX5" fmla="*/ 607220 w 1240632"/>
                      <a:gd name="connsiteY5" fmla="*/ 4764 h 569649"/>
                      <a:gd name="connsiteX6" fmla="*/ 711994 w 1240632"/>
                      <a:gd name="connsiteY6" fmla="*/ 47626 h 569649"/>
                      <a:gd name="connsiteX7" fmla="*/ 992982 w 1240632"/>
                      <a:gd name="connsiteY7" fmla="*/ 471489 h 569649"/>
                      <a:gd name="connsiteX8" fmla="*/ 1162050 w 1240632"/>
                      <a:gd name="connsiteY8" fmla="*/ 564358 h 569649"/>
                      <a:gd name="connsiteX9" fmla="*/ 1240632 w 1240632"/>
                      <a:gd name="connsiteY9" fmla="*/ 569120 h 569649"/>
                      <a:gd name="connsiteX0" fmla="*/ 0 w 1240632"/>
                      <a:gd name="connsiteY0" fmla="*/ 559621 h 564912"/>
                      <a:gd name="connsiteX1" fmla="*/ 102394 w 1240632"/>
                      <a:gd name="connsiteY1" fmla="*/ 554858 h 564912"/>
                      <a:gd name="connsiteX2" fmla="*/ 202407 w 1240632"/>
                      <a:gd name="connsiteY2" fmla="*/ 511996 h 564912"/>
                      <a:gd name="connsiteX3" fmla="*/ 311944 w 1240632"/>
                      <a:gd name="connsiteY3" fmla="*/ 388171 h 564912"/>
                      <a:gd name="connsiteX4" fmla="*/ 495300 w 1240632"/>
                      <a:gd name="connsiteY4" fmla="*/ 80990 h 564912"/>
                      <a:gd name="connsiteX5" fmla="*/ 607220 w 1240632"/>
                      <a:gd name="connsiteY5" fmla="*/ 27 h 564912"/>
                      <a:gd name="connsiteX6" fmla="*/ 747713 w 1240632"/>
                      <a:gd name="connsiteY6" fmla="*/ 85752 h 564912"/>
                      <a:gd name="connsiteX7" fmla="*/ 992982 w 1240632"/>
                      <a:gd name="connsiteY7" fmla="*/ 466752 h 564912"/>
                      <a:gd name="connsiteX8" fmla="*/ 1162050 w 1240632"/>
                      <a:gd name="connsiteY8" fmla="*/ 559621 h 564912"/>
                      <a:gd name="connsiteX9" fmla="*/ 1240632 w 1240632"/>
                      <a:gd name="connsiteY9" fmla="*/ 564383 h 564912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202407 w 1240632"/>
                      <a:gd name="connsiteY2" fmla="*/ 514374 h 567290"/>
                      <a:gd name="connsiteX3" fmla="*/ 311944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309563 w 1240632"/>
                      <a:gd name="connsiteY2" fmla="*/ 516756 h 567290"/>
                      <a:gd name="connsiteX3" fmla="*/ 311944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  <a:gd name="connsiteX0" fmla="*/ 0 w 1240632"/>
                      <a:gd name="connsiteY0" fmla="*/ 561999 h 567290"/>
                      <a:gd name="connsiteX1" fmla="*/ 102394 w 1240632"/>
                      <a:gd name="connsiteY1" fmla="*/ 557236 h 567290"/>
                      <a:gd name="connsiteX2" fmla="*/ 309563 w 1240632"/>
                      <a:gd name="connsiteY2" fmla="*/ 516756 h 567290"/>
                      <a:gd name="connsiteX3" fmla="*/ 431007 w 1240632"/>
                      <a:gd name="connsiteY3" fmla="*/ 390549 h 567290"/>
                      <a:gd name="connsiteX4" fmla="*/ 495300 w 1240632"/>
                      <a:gd name="connsiteY4" fmla="*/ 83368 h 567290"/>
                      <a:gd name="connsiteX5" fmla="*/ 626270 w 1240632"/>
                      <a:gd name="connsiteY5" fmla="*/ 23 h 567290"/>
                      <a:gd name="connsiteX6" fmla="*/ 747713 w 1240632"/>
                      <a:gd name="connsiteY6" fmla="*/ 88130 h 567290"/>
                      <a:gd name="connsiteX7" fmla="*/ 992982 w 1240632"/>
                      <a:gd name="connsiteY7" fmla="*/ 469130 h 567290"/>
                      <a:gd name="connsiteX8" fmla="*/ 1162050 w 1240632"/>
                      <a:gd name="connsiteY8" fmla="*/ 561999 h 567290"/>
                      <a:gd name="connsiteX9" fmla="*/ 1240632 w 1240632"/>
                      <a:gd name="connsiteY9" fmla="*/ 566761 h 567290"/>
                      <a:gd name="connsiteX0" fmla="*/ 0 w 1240632"/>
                      <a:gd name="connsiteY0" fmla="*/ 562015 h 567306"/>
                      <a:gd name="connsiteX1" fmla="*/ 102394 w 1240632"/>
                      <a:gd name="connsiteY1" fmla="*/ 557252 h 567306"/>
                      <a:gd name="connsiteX2" fmla="*/ 309563 w 1240632"/>
                      <a:gd name="connsiteY2" fmla="*/ 516772 h 567306"/>
                      <a:gd name="connsiteX3" fmla="*/ 431007 w 1240632"/>
                      <a:gd name="connsiteY3" fmla="*/ 390565 h 567306"/>
                      <a:gd name="connsiteX4" fmla="*/ 595313 w 1240632"/>
                      <a:gd name="connsiteY4" fmla="*/ 92909 h 567306"/>
                      <a:gd name="connsiteX5" fmla="*/ 626270 w 1240632"/>
                      <a:gd name="connsiteY5" fmla="*/ 39 h 567306"/>
                      <a:gd name="connsiteX6" fmla="*/ 747713 w 1240632"/>
                      <a:gd name="connsiteY6" fmla="*/ 88146 h 567306"/>
                      <a:gd name="connsiteX7" fmla="*/ 992982 w 1240632"/>
                      <a:gd name="connsiteY7" fmla="*/ 469146 h 567306"/>
                      <a:gd name="connsiteX8" fmla="*/ 1162050 w 1240632"/>
                      <a:gd name="connsiteY8" fmla="*/ 562015 h 567306"/>
                      <a:gd name="connsiteX9" fmla="*/ 1240632 w 1240632"/>
                      <a:gd name="connsiteY9" fmla="*/ 566777 h 567306"/>
                      <a:gd name="connsiteX0" fmla="*/ 0 w 1240632"/>
                      <a:gd name="connsiteY0" fmla="*/ 631038 h 636329"/>
                      <a:gd name="connsiteX1" fmla="*/ 102394 w 1240632"/>
                      <a:gd name="connsiteY1" fmla="*/ 626275 h 636329"/>
                      <a:gd name="connsiteX2" fmla="*/ 309563 w 1240632"/>
                      <a:gd name="connsiteY2" fmla="*/ 585795 h 636329"/>
                      <a:gd name="connsiteX3" fmla="*/ 431007 w 1240632"/>
                      <a:gd name="connsiteY3" fmla="*/ 459588 h 636329"/>
                      <a:gd name="connsiteX4" fmla="*/ 595313 w 1240632"/>
                      <a:gd name="connsiteY4" fmla="*/ 161932 h 636329"/>
                      <a:gd name="connsiteX5" fmla="*/ 742952 w 1240632"/>
                      <a:gd name="connsiteY5" fmla="*/ 6 h 636329"/>
                      <a:gd name="connsiteX6" fmla="*/ 747713 w 1240632"/>
                      <a:gd name="connsiteY6" fmla="*/ 157169 h 636329"/>
                      <a:gd name="connsiteX7" fmla="*/ 992982 w 1240632"/>
                      <a:gd name="connsiteY7" fmla="*/ 538169 h 636329"/>
                      <a:gd name="connsiteX8" fmla="*/ 1162050 w 1240632"/>
                      <a:gd name="connsiteY8" fmla="*/ 631038 h 636329"/>
                      <a:gd name="connsiteX9" fmla="*/ 1240632 w 1240632"/>
                      <a:gd name="connsiteY9" fmla="*/ 635800 h 636329"/>
                      <a:gd name="connsiteX0" fmla="*/ 0 w 1240632"/>
                      <a:gd name="connsiteY0" fmla="*/ 631034 h 636325"/>
                      <a:gd name="connsiteX1" fmla="*/ 102394 w 1240632"/>
                      <a:gd name="connsiteY1" fmla="*/ 626271 h 636325"/>
                      <a:gd name="connsiteX2" fmla="*/ 309563 w 1240632"/>
                      <a:gd name="connsiteY2" fmla="*/ 585791 h 636325"/>
                      <a:gd name="connsiteX3" fmla="*/ 431007 w 1240632"/>
                      <a:gd name="connsiteY3" fmla="*/ 459584 h 636325"/>
                      <a:gd name="connsiteX4" fmla="*/ 595313 w 1240632"/>
                      <a:gd name="connsiteY4" fmla="*/ 161928 h 636325"/>
                      <a:gd name="connsiteX5" fmla="*/ 742952 w 1240632"/>
                      <a:gd name="connsiteY5" fmla="*/ 2 h 636325"/>
                      <a:gd name="connsiteX6" fmla="*/ 885825 w 1240632"/>
                      <a:gd name="connsiteY6" fmla="*/ 164308 h 636325"/>
                      <a:gd name="connsiteX7" fmla="*/ 992982 w 1240632"/>
                      <a:gd name="connsiteY7" fmla="*/ 538165 h 636325"/>
                      <a:gd name="connsiteX8" fmla="*/ 1162050 w 1240632"/>
                      <a:gd name="connsiteY8" fmla="*/ 631034 h 636325"/>
                      <a:gd name="connsiteX9" fmla="*/ 1240632 w 1240632"/>
                      <a:gd name="connsiteY9" fmla="*/ 635796 h 636325"/>
                      <a:gd name="connsiteX0" fmla="*/ 0 w 1240632"/>
                      <a:gd name="connsiteY0" fmla="*/ 631034 h 644961"/>
                      <a:gd name="connsiteX1" fmla="*/ 102394 w 1240632"/>
                      <a:gd name="connsiteY1" fmla="*/ 626271 h 644961"/>
                      <a:gd name="connsiteX2" fmla="*/ 309563 w 1240632"/>
                      <a:gd name="connsiteY2" fmla="*/ 585791 h 644961"/>
                      <a:gd name="connsiteX3" fmla="*/ 431007 w 1240632"/>
                      <a:gd name="connsiteY3" fmla="*/ 459584 h 644961"/>
                      <a:gd name="connsiteX4" fmla="*/ 595313 w 1240632"/>
                      <a:gd name="connsiteY4" fmla="*/ 161928 h 644961"/>
                      <a:gd name="connsiteX5" fmla="*/ 742952 w 1240632"/>
                      <a:gd name="connsiteY5" fmla="*/ 2 h 644961"/>
                      <a:gd name="connsiteX6" fmla="*/ 885825 w 1240632"/>
                      <a:gd name="connsiteY6" fmla="*/ 164308 h 644961"/>
                      <a:gd name="connsiteX7" fmla="*/ 1021557 w 1240632"/>
                      <a:gd name="connsiteY7" fmla="*/ 469109 h 644961"/>
                      <a:gd name="connsiteX8" fmla="*/ 1162050 w 1240632"/>
                      <a:gd name="connsiteY8" fmla="*/ 631034 h 644961"/>
                      <a:gd name="connsiteX9" fmla="*/ 1240632 w 1240632"/>
                      <a:gd name="connsiteY9" fmla="*/ 635796 h 644961"/>
                      <a:gd name="connsiteX0" fmla="*/ 0 w 1240632"/>
                      <a:gd name="connsiteY0" fmla="*/ 631034 h 635814"/>
                      <a:gd name="connsiteX1" fmla="*/ 102394 w 1240632"/>
                      <a:gd name="connsiteY1" fmla="*/ 626271 h 635814"/>
                      <a:gd name="connsiteX2" fmla="*/ 309563 w 1240632"/>
                      <a:gd name="connsiteY2" fmla="*/ 585791 h 635814"/>
                      <a:gd name="connsiteX3" fmla="*/ 431007 w 1240632"/>
                      <a:gd name="connsiteY3" fmla="*/ 459584 h 635814"/>
                      <a:gd name="connsiteX4" fmla="*/ 595313 w 1240632"/>
                      <a:gd name="connsiteY4" fmla="*/ 161928 h 635814"/>
                      <a:gd name="connsiteX5" fmla="*/ 742952 w 1240632"/>
                      <a:gd name="connsiteY5" fmla="*/ 2 h 635814"/>
                      <a:gd name="connsiteX6" fmla="*/ 885825 w 1240632"/>
                      <a:gd name="connsiteY6" fmla="*/ 164308 h 635814"/>
                      <a:gd name="connsiteX7" fmla="*/ 1021557 w 1240632"/>
                      <a:gd name="connsiteY7" fmla="*/ 469109 h 635814"/>
                      <a:gd name="connsiteX8" fmla="*/ 1104900 w 1240632"/>
                      <a:gd name="connsiteY8" fmla="*/ 583409 h 635814"/>
                      <a:gd name="connsiteX9" fmla="*/ 1240632 w 1240632"/>
                      <a:gd name="connsiteY9" fmla="*/ 635796 h 635814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  <a:gd name="connsiteX0" fmla="*/ 0 w 1240632"/>
                      <a:gd name="connsiteY0" fmla="*/ 631034 h 635843"/>
                      <a:gd name="connsiteX1" fmla="*/ 102394 w 1240632"/>
                      <a:gd name="connsiteY1" fmla="*/ 626271 h 635843"/>
                      <a:gd name="connsiteX2" fmla="*/ 309563 w 1240632"/>
                      <a:gd name="connsiteY2" fmla="*/ 585791 h 635843"/>
                      <a:gd name="connsiteX3" fmla="*/ 431007 w 1240632"/>
                      <a:gd name="connsiteY3" fmla="*/ 459584 h 635843"/>
                      <a:gd name="connsiteX4" fmla="*/ 595313 w 1240632"/>
                      <a:gd name="connsiteY4" fmla="*/ 161928 h 635843"/>
                      <a:gd name="connsiteX5" fmla="*/ 742952 w 1240632"/>
                      <a:gd name="connsiteY5" fmla="*/ 2 h 635843"/>
                      <a:gd name="connsiteX6" fmla="*/ 885825 w 1240632"/>
                      <a:gd name="connsiteY6" fmla="*/ 164308 h 635843"/>
                      <a:gd name="connsiteX7" fmla="*/ 1021557 w 1240632"/>
                      <a:gd name="connsiteY7" fmla="*/ 469109 h 635843"/>
                      <a:gd name="connsiteX8" fmla="*/ 1104900 w 1240632"/>
                      <a:gd name="connsiteY8" fmla="*/ 583409 h 635843"/>
                      <a:gd name="connsiteX9" fmla="*/ 1240632 w 1240632"/>
                      <a:gd name="connsiteY9" fmla="*/ 635796 h 6358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240632" h="635843">
                        <a:moveTo>
                          <a:pt x="0" y="631034"/>
                        </a:moveTo>
                        <a:lnTo>
                          <a:pt x="102394" y="626271"/>
                        </a:lnTo>
                        <a:cubicBezTo>
                          <a:pt x="153988" y="618731"/>
                          <a:pt x="254794" y="613572"/>
                          <a:pt x="309563" y="585791"/>
                        </a:cubicBezTo>
                        <a:cubicBezTo>
                          <a:pt x="364332" y="558010"/>
                          <a:pt x="383382" y="530228"/>
                          <a:pt x="431007" y="459584"/>
                        </a:cubicBezTo>
                        <a:cubicBezTo>
                          <a:pt x="478632" y="388940"/>
                          <a:pt x="550466" y="243287"/>
                          <a:pt x="595313" y="161928"/>
                        </a:cubicBezTo>
                        <a:cubicBezTo>
                          <a:pt x="640160" y="80569"/>
                          <a:pt x="665958" y="-395"/>
                          <a:pt x="742952" y="2"/>
                        </a:cubicBezTo>
                        <a:cubicBezTo>
                          <a:pt x="819946" y="399"/>
                          <a:pt x="844154" y="76599"/>
                          <a:pt x="885825" y="164308"/>
                        </a:cubicBezTo>
                        <a:cubicBezTo>
                          <a:pt x="927496" y="252017"/>
                          <a:pt x="985044" y="399259"/>
                          <a:pt x="1021557" y="469109"/>
                        </a:cubicBezTo>
                        <a:cubicBezTo>
                          <a:pt x="1058070" y="538959"/>
                          <a:pt x="1058863" y="538959"/>
                          <a:pt x="1104900" y="583409"/>
                        </a:cubicBezTo>
                        <a:cubicBezTo>
                          <a:pt x="1150937" y="627859"/>
                          <a:pt x="1215628" y="636590"/>
                          <a:pt x="1240632" y="635796"/>
                        </a:cubicBezTo>
                      </a:path>
                    </a:pathLst>
                  </a:custGeom>
                  <a:noFill/>
                  <a:ln w="25400">
                    <a:solidFill>
                      <a:srgbClr val="C81919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cxnSp>
              <p:nvCxnSpPr>
                <p:cNvPr id="140" name="Rechte verbindingslijn met pijl 139">
                  <a:extLst>
                    <a:ext uri="{FF2B5EF4-FFF2-40B4-BE49-F238E27FC236}">
                      <a16:creationId xmlns:a16="http://schemas.microsoft.com/office/drawing/2014/main" id="{12D1C06C-0706-4D62-836C-96FE603707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467272" y="1352550"/>
                  <a:ext cx="279493" cy="0"/>
                </a:xfrm>
                <a:prstGeom prst="straightConnector1">
                  <a:avLst/>
                </a:prstGeom>
                <a:ln w="19050">
                  <a:solidFill>
                    <a:srgbClr val="C81919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7" name="Groep 166">
              <a:extLst>
                <a:ext uri="{FF2B5EF4-FFF2-40B4-BE49-F238E27FC236}">
                  <a16:creationId xmlns:a16="http://schemas.microsoft.com/office/drawing/2014/main" id="{1E7682F3-433B-4A88-84CF-7F6A591771C1}"/>
                </a:ext>
              </a:extLst>
            </p:cNvPr>
            <p:cNvGrpSpPr/>
            <p:nvPr/>
          </p:nvGrpSpPr>
          <p:grpSpPr>
            <a:xfrm>
              <a:off x="6448217" y="1517532"/>
              <a:ext cx="713310" cy="1739159"/>
              <a:chOff x="6384717" y="1517532"/>
              <a:chExt cx="713310" cy="1739159"/>
            </a:xfrm>
          </p:grpSpPr>
          <p:grpSp>
            <p:nvGrpSpPr>
              <p:cNvPr id="165" name="Groep 164">
                <a:extLst>
                  <a:ext uri="{FF2B5EF4-FFF2-40B4-BE49-F238E27FC236}">
                    <a16:creationId xmlns:a16="http://schemas.microsoft.com/office/drawing/2014/main" id="{BCF4A724-E48A-4365-89D1-8FF71BA3C905}"/>
                  </a:ext>
                </a:extLst>
              </p:cNvPr>
              <p:cNvGrpSpPr/>
              <p:nvPr/>
            </p:nvGrpSpPr>
            <p:grpSpPr>
              <a:xfrm>
                <a:off x="6384717" y="1517532"/>
                <a:ext cx="713310" cy="704610"/>
                <a:chOff x="6384717" y="1517532"/>
                <a:chExt cx="713310" cy="704610"/>
              </a:xfrm>
            </p:grpSpPr>
            <p:grpSp>
              <p:nvGrpSpPr>
                <p:cNvPr id="147" name="Group 36">
                  <a:extLst>
                    <a:ext uri="{FF2B5EF4-FFF2-40B4-BE49-F238E27FC236}">
                      <a16:creationId xmlns:a16="http://schemas.microsoft.com/office/drawing/2014/main" id="{174B109B-056B-48A8-B764-A0588E97251E}"/>
                    </a:ext>
                  </a:extLst>
                </p:cNvPr>
                <p:cNvGrpSpPr/>
                <p:nvPr/>
              </p:nvGrpSpPr>
              <p:grpSpPr>
                <a:xfrm>
                  <a:off x="6384717" y="1517532"/>
                  <a:ext cx="713310" cy="704610"/>
                  <a:chOff x="4279221" y="2033354"/>
                  <a:chExt cx="1412875" cy="1395646"/>
                </a:xfrm>
              </p:grpSpPr>
              <p:sp>
                <p:nvSpPr>
                  <p:cNvPr id="148" name="Freeform 5">
                    <a:extLst>
                      <a:ext uri="{FF2B5EF4-FFF2-40B4-BE49-F238E27FC236}">
                        <a16:creationId xmlns:a16="http://schemas.microsoft.com/office/drawing/2014/main" id="{26E742B8-3092-4172-9473-C2A781C5EB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79221" y="2081212"/>
                    <a:ext cx="1412875" cy="1347788"/>
                  </a:xfrm>
                  <a:custGeom>
                    <a:avLst/>
                    <a:gdLst>
                      <a:gd name="T0" fmla="*/ 36 w 374"/>
                      <a:gd name="T1" fmla="*/ 145 h 356"/>
                      <a:gd name="T2" fmla="*/ 118 w 374"/>
                      <a:gd name="T3" fmla="*/ 65 h 356"/>
                      <a:gd name="T4" fmla="*/ 271 w 374"/>
                      <a:gd name="T5" fmla="*/ 39 h 356"/>
                      <a:gd name="T6" fmla="*/ 353 w 374"/>
                      <a:gd name="T7" fmla="*/ 207 h 356"/>
                      <a:gd name="T8" fmla="*/ 128 w 374"/>
                      <a:gd name="T9" fmla="*/ 310 h 356"/>
                      <a:gd name="T10" fmla="*/ 35 w 374"/>
                      <a:gd name="T11" fmla="*/ 218 h 356"/>
                      <a:gd name="T12" fmla="*/ 36 w 374"/>
                      <a:gd name="T13" fmla="*/ 145 h 3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74" h="356">
                        <a:moveTo>
                          <a:pt x="36" y="145"/>
                        </a:moveTo>
                        <a:cubicBezTo>
                          <a:pt x="61" y="130"/>
                          <a:pt x="78" y="127"/>
                          <a:pt x="118" y="65"/>
                        </a:cubicBezTo>
                        <a:cubicBezTo>
                          <a:pt x="159" y="3"/>
                          <a:pt x="231" y="0"/>
                          <a:pt x="271" y="39"/>
                        </a:cubicBezTo>
                        <a:cubicBezTo>
                          <a:pt x="311" y="78"/>
                          <a:pt x="374" y="119"/>
                          <a:pt x="353" y="207"/>
                        </a:cubicBezTo>
                        <a:cubicBezTo>
                          <a:pt x="332" y="296"/>
                          <a:pt x="216" y="356"/>
                          <a:pt x="128" y="310"/>
                        </a:cubicBezTo>
                        <a:cubicBezTo>
                          <a:pt x="76" y="282"/>
                          <a:pt x="53" y="251"/>
                          <a:pt x="35" y="218"/>
                        </a:cubicBezTo>
                        <a:cubicBezTo>
                          <a:pt x="23" y="196"/>
                          <a:pt x="0" y="166"/>
                          <a:pt x="36" y="1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49" name="Freeform 6">
                    <a:extLst>
                      <a:ext uri="{FF2B5EF4-FFF2-40B4-BE49-F238E27FC236}">
                        <a16:creationId xmlns:a16="http://schemas.microsoft.com/office/drawing/2014/main" id="{D1840135-17B7-426D-89EA-9E5A567F1CA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77645" y="2033354"/>
                    <a:ext cx="1216025" cy="1336675"/>
                  </a:xfrm>
                  <a:custGeom>
                    <a:avLst/>
                    <a:gdLst>
                      <a:gd name="T0" fmla="*/ 223 w 322"/>
                      <a:gd name="T1" fmla="*/ 21 h 353"/>
                      <a:gd name="T2" fmla="*/ 113 w 322"/>
                      <a:gd name="T3" fmla="*/ 52 h 353"/>
                      <a:gd name="T4" fmla="*/ 14 w 322"/>
                      <a:gd name="T5" fmla="*/ 172 h 353"/>
                      <a:gd name="T6" fmla="*/ 119 w 322"/>
                      <a:gd name="T7" fmla="*/ 327 h 353"/>
                      <a:gd name="T8" fmla="*/ 320 w 322"/>
                      <a:gd name="T9" fmla="*/ 183 h 353"/>
                      <a:gd name="T10" fmla="*/ 287 w 322"/>
                      <a:gd name="T11" fmla="*/ 56 h 353"/>
                      <a:gd name="T12" fmla="*/ 223 w 322"/>
                      <a:gd name="T13" fmla="*/ 21 h 3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22" h="353">
                        <a:moveTo>
                          <a:pt x="223" y="21"/>
                        </a:moveTo>
                        <a:cubicBezTo>
                          <a:pt x="198" y="35"/>
                          <a:pt x="187" y="48"/>
                          <a:pt x="113" y="52"/>
                        </a:cubicBezTo>
                        <a:cubicBezTo>
                          <a:pt x="39" y="57"/>
                          <a:pt x="0" y="118"/>
                          <a:pt x="14" y="172"/>
                        </a:cubicBezTo>
                        <a:cubicBezTo>
                          <a:pt x="28" y="226"/>
                          <a:pt x="32" y="301"/>
                          <a:pt x="119" y="327"/>
                        </a:cubicBezTo>
                        <a:cubicBezTo>
                          <a:pt x="206" y="353"/>
                          <a:pt x="316" y="282"/>
                          <a:pt x="320" y="183"/>
                        </a:cubicBezTo>
                        <a:cubicBezTo>
                          <a:pt x="322" y="124"/>
                          <a:pt x="306" y="88"/>
                          <a:pt x="287" y="56"/>
                        </a:cubicBezTo>
                        <a:cubicBezTo>
                          <a:pt x="274" y="35"/>
                          <a:pt x="259" y="0"/>
                          <a:pt x="223" y="21"/>
                        </a:cubicBezTo>
                        <a:close/>
                      </a:path>
                    </a:pathLst>
                  </a:custGeom>
                  <a:solidFill>
                    <a:srgbClr val="0DB04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1C0EE761-D39C-4974-ABF3-1DF228B821D6}"/>
                    </a:ext>
                  </a:extLst>
                </p:cNvPr>
                <p:cNvGrpSpPr/>
                <p:nvPr/>
              </p:nvGrpSpPr>
              <p:grpSpPr>
                <a:xfrm>
                  <a:off x="6617267" y="1761964"/>
                  <a:ext cx="248211" cy="215746"/>
                  <a:chOff x="6635835" y="1770218"/>
                  <a:chExt cx="248211" cy="215746"/>
                </a:xfrm>
              </p:grpSpPr>
              <p:cxnSp>
                <p:nvCxnSpPr>
                  <p:cNvPr id="31" name="Rechte verbindingslijn 30">
                    <a:extLst>
                      <a:ext uri="{FF2B5EF4-FFF2-40B4-BE49-F238E27FC236}">
                        <a16:creationId xmlns:a16="http://schemas.microsoft.com/office/drawing/2014/main" id="{443EDCE9-B2A1-428F-9764-22CD9019DDC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635835" y="1895585"/>
                    <a:ext cx="105536" cy="90378"/>
                  </a:xfrm>
                  <a:prstGeom prst="line">
                    <a:avLst/>
                  </a:prstGeom>
                  <a:ln w="50800" cap="rnd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Rechte verbindingslijn 152">
                    <a:extLst>
                      <a:ext uri="{FF2B5EF4-FFF2-40B4-BE49-F238E27FC236}">
                        <a16:creationId xmlns:a16="http://schemas.microsoft.com/office/drawing/2014/main" id="{61C2CB72-DAE9-49B8-97B0-5F7967236FF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741371" y="1770218"/>
                    <a:ext cx="142675" cy="215746"/>
                  </a:xfrm>
                  <a:prstGeom prst="line">
                    <a:avLst/>
                  </a:prstGeom>
                  <a:ln w="50800" cap="rnd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66" name="Groep 165">
                <a:extLst>
                  <a:ext uri="{FF2B5EF4-FFF2-40B4-BE49-F238E27FC236}">
                    <a16:creationId xmlns:a16="http://schemas.microsoft.com/office/drawing/2014/main" id="{C76C14FF-218B-4B1C-AE3F-10F978C1C51D}"/>
                  </a:ext>
                </a:extLst>
              </p:cNvPr>
              <p:cNvGrpSpPr/>
              <p:nvPr/>
            </p:nvGrpSpPr>
            <p:grpSpPr>
              <a:xfrm>
                <a:off x="6384717" y="2552081"/>
                <a:ext cx="713310" cy="704610"/>
                <a:chOff x="6384717" y="2552081"/>
                <a:chExt cx="713310" cy="704610"/>
              </a:xfrm>
            </p:grpSpPr>
            <p:grpSp>
              <p:nvGrpSpPr>
                <p:cNvPr id="150" name="Group 36">
                  <a:extLst>
                    <a:ext uri="{FF2B5EF4-FFF2-40B4-BE49-F238E27FC236}">
                      <a16:creationId xmlns:a16="http://schemas.microsoft.com/office/drawing/2014/main" id="{FB3D94A5-667A-4652-9BB8-15C02159418B}"/>
                    </a:ext>
                  </a:extLst>
                </p:cNvPr>
                <p:cNvGrpSpPr/>
                <p:nvPr/>
              </p:nvGrpSpPr>
              <p:grpSpPr>
                <a:xfrm>
                  <a:off x="6384717" y="2552081"/>
                  <a:ext cx="713310" cy="704610"/>
                  <a:chOff x="4279221" y="2033354"/>
                  <a:chExt cx="1412875" cy="1395646"/>
                </a:xfrm>
              </p:grpSpPr>
              <p:sp>
                <p:nvSpPr>
                  <p:cNvPr id="151" name="Freeform 5">
                    <a:extLst>
                      <a:ext uri="{FF2B5EF4-FFF2-40B4-BE49-F238E27FC236}">
                        <a16:creationId xmlns:a16="http://schemas.microsoft.com/office/drawing/2014/main" id="{C539B3EC-5441-4268-95C1-01562FA267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79221" y="2081212"/>
                    <a:ext cx="1412875" cy="1347788"/>
                  </a:xfrm>
                  <a:custGeom>
                    <a:avLst/>
                    <a:gdLst>
                      <a:gd name="T0" fmla="*/ 36 w 374"/>
                      <a:gd name="T1" fmla="*/ 145 h 356"/>
                      <a:gd name="T2" fmla="*/ 118 w 374"/>
                      <a:gd name="T3" fmla="*/ 65 h 356"/>
                      <a:gd name="T4" fmla="*/ 271 w 374"/>
                      <a:gd name="T5" fmla="*/ 39 h 356"/>
                      <a:gd name="T6" fmla="*/ 353 w 374"/>
                      <a:gd name="T7" fmla="*/ 207 h 356"/>
                      <a:gd name="T8" fmla="*/ 128 w 374"/>
                      <a:gd name="T9" fmla="*/ 310 h 356"/>
                      <a:gd name="T10" fmla="*/ 35 w 374"/>
                      <a:gd name="T11" fmla="*/ 218 h 356"/>
                      <a:gd name="T12" fmla="*/ 36 w 374"/>
                      <a:gd name="T13" fmla="*/ 145 h 3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74" h="356">
                        <a:moveTo>
                          <a:pt x="36" y="145"/>
                        </a:moveTo>
                        <a:cubicBezTo>
                          <a:pt x="61" y="130"/>
                          <a:pt x="78" y="127"/>
                          <a:pt x="118" y="65"/>
                        </a:cubicBezTo>
                        <a:cubicBezTo>
                          <a:pt x="159" y="3"/>
                          <a:pt x="231" y="0"/>
                          <a:pt x="271" y="39"/>
                        </a:cubicBezTo>
                        <a:cubicBezTo>
                          <a:pt x="311" y="78"/>
                          <a:pt x="374" y="119"/>
                          <a:pt x="353" y="207"/>
                        </a:cubicBezTo>
                        <a:cubicBezTo>
                          <a:pt x="332" y="296"/>
                          <a:pt x="216" y="356"/>
                          <a:pt x="128" y="310"/>
                        </a:cubicBezTo>
                        <a:cubicBezTo>
                          <a:pt x="76" y="282"/>
                          <a:pt x="53" y="251"/>
                          <a:pt x="35" y="218"/>
                        </a:cubicBezTo>
                        <a:cubicBezTo>
                          <a:pt x="23" y="196"/>
                          <a:pt x="0" y="166"/>
                          <a:pt x="36" y="1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2" name="Freeform 6">
                    <a:extLst>
                      <a:ext uri="{FF2B5EF4-FFF2-40B4-BE49-F238E27FC236}">
                        <a16:creationId xmlns:a16="http://schemas.microsoft.com/office/drawing/2014/main" id="{846F3839-DD72-40DB-BF41-57F714D465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77645" y="2033354"/>
                    <a:ext cx="1216025" cy="1336675"/>
                  </a:xfrm>
                  <a:custGeom>
                    <a:avLst/>
                    <a:gdLst>
                      <a:gd name="T0" fmla="*/ 223 w 322"/>
                      <a:gd name="T1" fmla="*/ 21 h 353"/>
                      <a:gd name="T2" fmla="*/ 113 w 322"/>
                      <a:gd name="T3" fmla="*/ 52 h 353"/>
                      <a:gd name="T4" fmla="*/ 14 w 322"/>
                      <a:gd name="T5" fmla="*/ 172 h 353"/>
                      <a:gd name="T6" fmla="*/ 119 w 322"/>
                      <a:gd name="T7" fmla="*/ 327 h 353"/>
                      <a:gd name="T8" fmla="*/ 320 w 322"/>
                      <a:gd name="T9" fmla="*/ 183 h 353"/>
                      <a:gd name="T10" fmla="*/ 287 w 322"/>
                      <a:gd name="T11" fmla="*/ 56 h 353"/>
                      <a:gd name="T12" fmla="*/ 223 w 322"/>
                      <a:gd name="T13" fmla="*/ 21 h 3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22" h="353">
                        <a:moveTo>
                          <a:pt x="223" y="21"/>
                        </a:moveTo>
                        <a:cubicBezTo>
                          <a:pt x="198" y="35"/>
                          <a:pt x="187" y="48"/>
                          <a:pt x="113" y="52"/>
                        </a:cubicBezTo>
                        <a:cubicBezTo>
                          <a:pt x="39" y="57"/>
                          <a:pt x="0" y="118"/>
                          <a:pt x="14" y="172"/>
                        </a:cubicBezTo>
                        <a:cubicBezTo>
                          <a:pt x="28" y="226"/>
                          <a:pt x="32" y="301"/>
                          <a:pt x="119" y="327"/>
                        </a:cubicBezTo>
                        <a:cubicBezTo>
                          <a:pt x="206" y="353"/>
                          <a:pt x="316" y="282"/>
                          <a:pt x="320" y="183"/>
                        </a:cubicBezTo>
                        <a:cubicBezTo>
                          <a:pt x="322" y="124"/>
                          <a:pt x="306" y="88"/>
                          <a:pt x="287" y="56"/>
                        </a:cubicBezTo>
                        <a:cubicBezTo>
                          <a:pt x="274" y="35"/>
                          <a:pt x="259" y="0"/>
                          <a:pt x="223" y="21"/>
                        </a:cubicBezTo>
                        <a:close/>
                      </a:path>
                    </a:pathLst>
                  </a:custGeom>
                  <a:solidFill>
                    <a:srgbClr val="C8191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5BF6E712-8EC1-4B0F-8387-CBCFFB3726B7}"/>
                    </a:ext>
                  </a:extLst>
                </p:cNvPr>
                <p:cNvGrpSpPr/>
                <p:nvPr/>
              </p:nvGrpSpPr>
              <p:grpSpPr>
                <a:xfrm>
                  <a:off x="6647768" y="2811697"/>
                  <a:ext cx="187209" cy="185379"/>
                  <a:chOff x="6659074" y="2849765"/>
                  <a:chExt cx="187209" cy="185379"/>
                </a:xfrm>
              </p:grpSpPr>
              <p:cxnSp>
                <p:nvCxnSpPr>
                  <p:cNvPr id="154" name="Rechte verbindingslijn 153">
                    <a:extLst>
                      <a:ext uri="{FF2B5EF4-FFF2-40B4-BE49-F238E27FC236}">
                        <a16:creationId xmlns:a16="http://schemas.microsoft.com/office/drawing/2014/main" id="{29A12227-2B52-4363-BEB5-711BDCF8EC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659074" y="2849765"/>
                    <a:ext cx="187209" cy="185379"/>
                  </a:xfrm>
                  <a:prstGeom prst="line">
                    <a:avLst/>
                  </a:prstGeom>
                  <a:ln w="50800" cap="rnd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Rechte verbindingslijn 159">
                    <a:extLst>
                      <a:ext uri="{FF2B5EF4-FFF2-40B4-BE49-F238E27FC236}">
                        <a16:creationId xmlns:a16="http://schemas.microsoft.com/office/drawing/2014/main" id="{62275CE8-4422-4676-8A8E-AE5D3455224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6659074" y="2849765"/>
                    <a:ext cx="187209" cy="185379"/>
                  </a:xfrm>
                  <a:prstGeom prst="line">
                    <a:avLst/>
                  </a:prstGeom>
                  <a:ln w="50800" cap="rnd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</p:spTree>
    <p:extLst>
      <p:ext uri="{BB962C8B-B14F-4D97-AF65-F5344CB8AC3E}">
        <p14:creationId xmlns:p14="http://schemas.microsoft.com/office/powerpoint/2010/main" val="2655926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hoek: afgeronde hoeken 35">
            <a:extLst>
              <a:ext uri="{FF2B5EF4-FFF2-40B4-BE49-F238E27FC236}">
                <a16:creationId xmlns:a16="http://schemas.microsoft.com/office/drawing/2014/main" id="{118FA583-CE28-458F-91FE-D9538D679679}"/>
              </a:ext>
            </a:extLst>
          </p:cNvPr>
          <p:cNvSpPr/>
          <p:nvPr/>
        </p:nvSpPr>
        <p:spPr>
          <a:xfrm>
            <a:off x="5433701" y="3643130"/>
            <a:ext cx="5053907" cy="2306533"/>
          </a:xfrm>
          <a:prstGeom prst="roundRect">
            <a:avLst/>
          </a:prstGeom>
          <a:solidFill>
            <a:schemeClr val="bg1">
              <a:lumMod val="95000"/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imulation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B95F6DB9-7BE4-40C1-8D07-36063CE1A6D9}"/>
              </a:ext>
            </a:extLst>
          </p:cNvPr>
          <p:cNvGrpSpPr/>
          <p:nvPr/>
        </p:nvGrpSpPr>
        <p:grpSpPr>
          <a:xfrm>
            <a:off x="2190794" y="2104906"/>
            <a:ext cx="2243519" cy="661416"/>
            <a:chOff x="2000681" y="2086778"/>
            <a:chExt cx="2243519" cy="661416"/>
          </a:xfrm>
        </p:grpSpPr>
        <p:sp>
          <p:nvSpPr>
            <p:cNvPr id="93" name="TextBox 51">
              <a:extLst>
                <a:ext uri="{FF2B5EF4-FFF2-40B4-BE49-F238E27FC236}">
                  <a16:creationId xmlns:a16="http://schemas.microsoft.com/office/drawing/2014/main" id="{6CC5E981-D3CA-4254-9FD9-8D9174AE9DD6}"/>
                </a:ext>
              </a:extLst>
            </p:cNvPr>
            <p:cNvSpPr txBox="1"/>
            <p:nvPr/>
          </p:nvSpPr>
          <p:spPr>
            <a:xfrm>
              <a:off x="2000681" y="2086778"/>
              <a:ext cx="124258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404040"/>
                  </a:solidFill>
                </a:rPr>
                <a:t>RPM + JSS works</a:t>
              </a:r>
            </a:p>
          </p:txBody>
        </p:sp>
        <p:sp>
          <p:nvSpPr>
            <p:cNvPr id="94" name="TextBox 52">
              <a:extLst>
                <a:ext uri="{FF2B5EF4-FFF2-40B4-BE49-F238E27FC236}">
                  <a16:creationId xmlns:a16="http://schemas.microsoft.com/office/drawing/2014/main" id="{A50AE577-0313-43AF-A590-CEC9639397E2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dirty="0">
                  <a:solidFill>
                    <a:srgbClr val="404040"/>
                  </a:solidFill>
                  <a:cs typeface="Calibri Light" panose="020F0302020204030204" pitchFamily="34" charset="0"/>
                </a:rPr>
                <a:t>As general performance of adaptive is better than randomized</a:t>
              </a:r>
            </a:p>
          </p:txBody>
        </p:sp>
      </p:grpSp>
      <p:grpSp>
        <p:nvGrpSpPr>
          <p:cNvPr id="96" name="Groep 95">
            <a:extLst>
              <a:ext uri="{FF2B5EF4-FFF2-40B4-BE49-F238E27FC236}">
                <a16:creationId xmlns:a16="http://schemas.microsoft.com/office/drawing/2014/main" id="{21379B95-8D19-47D7-8F6B-937CEF515C70}"/>
              </a:ext>
            </a:extLst>
          </p:cNvPr>
          <p:cNvGrpSpPr/>
          <p:nvPr/>
        </p:nvGrpSpPr>
        <p:grpSpPr>
          <a:xfrm>
            <a:off x="2190794" y="3307154"/>
            <a:ext cx="2243519" cy="661416"/>
            <a:chOff x="2000681" y="2086778"/>
            <a:chExt cx="2243519" cy="661416"/>
          </a:xfrm>
        </p:grpSpPr>
        <p:sp>
          <p:nvSpPr>
            <p:cNvPr id="97" name="TextBox 51">
              <a:extLst>
                <a:ext uri="{FF2B5EF4-FFF2-40B4-BE49-F238E27FC236}">
                  <a16:creationId xmlns:a16="http://schemas.microsoft.com/office/drawing/2014/main" id="{4F68BEED-375B-4EF7-A4B3-9CA7F55793BA}"/>
                </a:ext>
              </a:extLst>
            </p:cNvPr>
            <p:cNvSpPr txBox="1"/>
            <p:nvPr/>
          </p:nvSpPr>
          <p:spPr>
            <a:xfrm>
              <a:off x="2000681" y="2086778"/>
              <a:ext cx="153503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404040"/>
                  </a:solidFill>
                </a:rPr>
                <a:t>Optimal parameters </a:t>
              </a:r>
            </a:p>
          </p:txBody>
        </p:sp>
        <p:sp>
          <p:nvSpPr>
            <p:cNvPr id="98" name="TextBox 52">
              <a:extLst>
                <a:ext uri="{FF2B5EF4-FFF2-40B4-BE49-F238E27FC236}">
                  <a16:creationId xmlns:a16="http://schemas.microsoft.com/office/drawing/2014/main" id="{A956EB3D-64DF-414C-A770-087397DFA4C1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dirty="0"/>
                <a:t>λ = 0.13 as participant personality std was 0.8 and short duration.</a:t>
              </a:r>
              <a:endParaRPr lang="en-US" sz="1200" dirty="0">
                <a:solidFill>
                  <a:srgbClr val="404040"/>
                </a:solidFill>
                <a:cs typeface="Calibri Light" panose="020F0302020204030204" pitchFamily="34" charset="0"/>
              </a:endParaRPr>
            </a:p>
          </p:txBody>
        </p:sp>
      </p:grpSp>
      <p:grpSp>
        <p:nvGrpSpPr>
          <p:cNvPr id="99" name="Groep 98">
            <a:extLst>
              <a:ext uri="{FF2B5EF4-FFF2-40B4-BE49-F238E27FC236}">
                <a16:creationId xmlns:a16="http://schemas.microsoft.com/office/drawing/2014/main" id="{77FE9D9B-B15E-4F3D-9840-BDACAEC8C1EB}"/>
              </a:ext>
            </a:extLst>
          </p:cNvPr>
          <p:cNvGrpSpPr/>
          <p:nvPr/>
        </p:nvGrpSpPr>
        <p:grpSpPr>
          <a:xfrm>
            <a:off x="2190793" y="4512264"/>
            <a:ext cx="2243519" cy="661416"/>
            <a:chOff x="2000681" y="2086778"/>
            <a:chExt cx="2243519" cy="661416"/>
          </a:xfrm>
        </p:grpSpPr>
        <p:sp>
          <p:nvSpPr>
            <p:cNvPr id="100" name="TextBox 51">
              <a:extLst>
                <a:ext uri="{FF2B5EF4-FFF2-40B4-BE49-F238E27FC236}">
                  <a16:creationId xmlns:a16="http://schemas.microsoft.com/office/drawing/2014/main" id="{5C9F2F1E-772D-4E5E-B418-3EB051B489D5}"/>
                </a:ext>
              </a:extLst>
            </p:cNvPr>
            <p:cNvSpPr txBox="1"/>
            <p:nvPr/>
          </p:nvSpPr>
          <p:spPr>
            <a:xfrm>
              <a:off x="2000681" y="2086778"/>
              <a:ext cx="130817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404040"/>
                  </a:solidFill>
                </a:rPr>
                <a:t>Optimistic results</a:t>
              </a:r>
            </a:p>
          </p:txBody>
        </p:sp>
        <p:sp>
          <p:nvSpPr>
            <p:cNvPr id="106" name="TextBox 52">
              <a:extLst>
                <a:ext uri="{FF2B5EF4-FFF2-40B4-BE49-F238E27FC236}">
                  <a16:creationId xmlns:a16="http://schemas.microsoft.com/office/drawing/2014/main" id="{0F5AF06B-AE1A-4766-A35D-DE3E48BFF32E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dirty="0">
                  <a:solidFill>
                    <a:srgbClr val="404040"/>
                  </a:solidFill>
                  <a:cs typeface="Calibri Light" panose="020F0302020204030204" pitchFamily="34" charset="0"/>
                </a:rPr>
                <a:t>Performance in actual intervention is estimated to be lower.</a:t>
              </a:r>
            </a:p>
          </p:txBody>
        </p:sp>
      </p:grpSp>
      <p:graphicFrame>
        <p:nvGraphicFramePr>
          <p:cNvPr id="6" name="Grafiek 5">
            <a:extLst>
              <a:ext uri="{FF2B5EF4-FFF2-40B4-BE49-F238E27FC236}">
                <a16:creationId xmlns:a16="http://schemas.microsoft.com/office/drawing/2014/main" id="{7D886769-85D7-4A13-92EC-88E7E6FECA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8747378"/>
              </p:ext>
            </p:extLst>
          </p:nvPr>
        </p:nvGraphicFramePr>
        <p:xfrm>
          <a:off x="5433701" y="1244585"/>
          <a:ext cx="4983514" cy="2416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3" name="Grafiek 32">
            <a:extLst>
              <a:ext uri="{FF2B5EF4-FFF2-40B4-BE49-F238E27FC236}">
                <a16:creationId xmlns:a16="http://schemas.microsoft.com/office/drawing/2014/main" id="{612A9DFD-A272-4740-94DA-138D0A845C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1205223"/>
              </p:ext>
            </p:extLst>
          </p:nvPr>
        </p:nvGraphicFramePr>
        <p:xfrm>
          <a:off x="5433701" y="3630894"/>
          <a:ext cx="4983514" cy="2416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4" name="Groep 23">
            <a:extLst>
              <a:ext uri="{FF2B5EF4-FFF2-40B4-BE49-F238E27FC236}">
                <a16:creationId xmlns:a16="http://schemas.microsoft.com/office/drawing/2014/main" id="{0677650E-EFC9-40FF-9C54-9CF80DF804B7}"/>
              </a:ext>
            </a:extLst>
          </p:cNvPr>
          <p:cNvGrpSpPr/>
          <p:nvPr/>
        </p:nvGrpSpPr>
        <p:grpSpPr>
          <a:xfrm>
            <a:off x="1109204" y="2038727"/>
            <a:ext cx="811103" cy="801212"/>
            <a:chOff x="1109204" y="2038727"/>
            <a:chExt cx="811103" cy="801212"/>
          </a:xfrm>
        </p:grpSpPr>
        <p:grpSp>
          <p:nvGrpSpPr>
            <p:cNvPr id="83" name="Group 10">
              <a:extLst>
                <a:ext uri="{FF2B5EF4-FFF2-40B4-BE49-F238E27FC236}">
                  <a16:creationId xmlns:a16="http://schemas.microsoft.com/office/drawing/2014/main" id="{62304503-E005-4501-86EF-E88B9BC391E4}"/>
                </a:ext>
              </a:extLst>
            </p:cNvPr>
            <p:cNvGrpSpPr/>
            <p:nvPr/>
          </p:nvGrpSpPr>
          <p:grpSpPr>
            <a:xfrm>
              <a:off x="1109204" y="2038727"/>
              <a:ext cx="811103" cy="801212"/>
              <a:chOff x="4279221" y="2033354"/>
              <a:chExt cx="1412875" cy="1395646"/>
            </a:xfrm>
          </p:grpSpPr>
          <p:sp>
            <p:nvSpPr>
              <p:cNvPr id="84" name="Freeform 5">
                <a:extLst>
                  <a:ext uri="{FF2B5EF4-FFF2-40B4-BE49-F238E27FC236}">
                    <a16:creationId xmlns:a16="http://schemas.microsoft.com/office/drawing/2014/main" id="{2FB1F421-4937-49CE-9ED3-5A9CB4C2B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6">
                <a:extLst>
                  <a:ext uri="{FF2B5EF4-FFF2-40B4-BE49-F238E27FC236}">
                    <a16:creationId xmlns:a16="http://schemas.microsoft.com/office/drawing/2014/main" id="{230EFE1E-3EEC-427B-AD2E-E490B69A9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4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8" name="Groep 7">
              <a:extLst>
                <a:ext uri="{FF2B5EF4-FFF2-40B4-BE49-F238E27FC236}">
                  <a16:creationId xmlns:a16="http://schemas.microsoft.com/office/drawing/2014/main" id="{5911B3FB-F3A8-4107-9A8B-6F6011D1FE69}"/>
                </a:ext>
              </a:extLst>
            </p:cNvPr>
            <p:cNvGrpSpPr/>
            <p:nvPr/>
          </p:nvGrpSpPr>
          <p:grpSpPr>
            <a:xfrm>
              <a:off x="1390648" y="2330330"/>
              <a:ext cx="260323" cy="215746"/>
              <a:chOff x="6712122" y="1764794"/>
              <a:chExt cx="260323" cy="215746"/>
            </a:xfrm>
          </p:grpSpPr>
          <p:cxnSp>
            <p:nvCxnSpPr>
              <p:cNvPr id="37" name="Rechte verbindingslijn 36">
                <a:extLst>
                  <a:ext uri="{FF2B5EF4-FFF2-40B4-BE49-F238E27FC236}">
                    <a16:creationId xmlns:a16="http://schemas.microsoft.com/office/drawing/2014/main" id="{E56CF7A5-45E3-42FF-B5FF-3CE077A9B1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12122" y="1884105"/>
                <a:ext cx="105536" cy="90378"/>
              </a:xfrm>
              <a:prstGeom prst="line">
                <a:avLst/>
              </a:prstGeom>
              <a:ln w="508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Rechte verbindingslijn 37">
                <a:extLst>
                  <a:ext uri="{FF2B5EF4-FFF2-40B4-BE49-F238E27FC236}">
                    <a16:creationId xmlns:a16="http://schemas.microsoft.com/office/drawing/2014/main" id="{9F996FE8-FFE2-4A2E-9CEF-DFDF237FDF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829770" y="1764794"/>
                <a:ext cx="142675" cy="215746"/>
              </a:xfrm>
              <a:prstGeom prst="line">
                <a:avLst/>
              </a:prstGeom>
              <a:ln w="508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3" name="Groep 22">
            <a:extLst>
              <a:ext uri="{FF2B5EF4-FFF2-40B4-BE49-F238E27FC236}">
                <a16:creationId xmlns:a16="http://schemas.microsoft.com/office/drawing/2014/main" id="{F08F736B-3FDF-4C36-8F01-FFB4E33631B0}"/>
              </a:ext>
            </a:extLst>
          </p:cNvPr>
          <p:cNvGrpSpPr/>
          <p:nvPr/>
        </p:nvGrpSpPr>
        <p:grpSpPr>
          <a:xfrm>
            <a:off x="1109204" y="3240975"/>
            <a:ext cx="811103" cy="801212"/>
            <a:chOff x="1109204" y="3240975"/>
            <a:chExt cx="811103" cy="801212"/>
          </a:xfrm>
        </p:grpSpPr>
        <p:grpSp>
          <p:nvGrpSpPr>
            <p:cNvPr id="86" name="Group 10">
              <a:extLst>
                <a:ext uri="{FF2B5EF4-FFF2-40B4-BE49-F238E27FC236}">
                  <a16:creationId xmlns:a16="http://schemas.microsoft.com/office/drawing/2014/main" id="{E34556A2-7C05-49C8-9F8C-E1E8EDAEB5ED}"/>
                </a:ext>
              </a:extLst>
            </p:cNvPr>
            <p:cNvGrpSpPr/>
            <p:nvPr/>
          </p:nvGrpSpPr>
          <p:grpSpPr>
            <a:xfrm>
              <a:off x="1109204" y="3240975"/>
              <a:ext cx="811103" cy="801212"/>
              <a:chOff x="4279221" y="2033354"/>
              <a:chExt cx="1412875" cy="1395646"/>
            </a:xfrm>
          </p:grpSpPr>
          <p:sp>
            <p:nvSpPr>
              <p:cNvPr id="87" name="Freeform 5">
                <a:extLst>
                  <a:ext uri="{FF2B5EF4-FFF2-40B4-BE49-F238E27FC236}">
                    <a16:creationId xmlns:a16="http://schemas.microsoft.com/office/drawing/2014/main" id="{66CC504F-371E-4904-A84F-E6770B667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6">
                <a:extLst>
                  <a:ext uri="{FF2B5EF4-FFF2-40B4-BE49-F238E27FC236}">
                    <a16:creationId xmlns:a16="http://schemas.microsoft.com/office/drawing/2014/main" id="{AE7B873E-C567-45D6-8BFC-5C08CCD32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0AE918C7-7934-450A-9CCC-CE92D85F2E45}"/>
                </a:ext>
              </a:extLst>
            </p:cNvPr>
            <p:cNvGrpSpPr/>
            <p:nvPr/>
          </p:nvGrpSpPr>
          <p:grpSpPr>
            <a:xfrm>
              <a:off x="1451081" y="3509888"/>
              <a:ext cx="132322" cy="263386"/>
              <a:chOff x="1447311" y="3522598"/>
              <a:chExt cx="132322" cy="263386"/>
            </a:xfrm>
          </p:grpSpPr>
          <p:cxnSp>
            <p:nvCxnSpPr>
              <p:cNvPr id="10" name="Rechte verbindingslijn 9">
                <a:extLst>
                  <a:ext uri="{FF2B5EF4-FFF2-40B4-BE49-F238E27FC236}">
                    <a16:creationId xmlns:a16="http://schemas.microsoft.com/office/drawing/2014/main" id="{8535C150-E02C-402C-80DB-D8DB8D4CE1D7}"/>
                  </a:ext>
                </a:extLst>
              </p:cNvPr>
              <p:cNvCxnSpPr/>
              <p:nvPr/>
            </p:nvCxnSpPr>
            <p:spPr>
              <a:xfrm>
                <a:off x="1469496" y="3522598"/>
                <a:ext cx="110137" cy="257330"/>
              </a:xfrm>
              <a:prstGeom prst="line">
                <a:avLst/>
              </a:prstGeom>
              <a:ln w="508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Rechte verbindingslijn 41">
                <a:extLst>
                  <a:ext uri="{FF2B5EF4-FFF2-40B4-BE49-F238E27FC236}">
                    <a16:creationId xmlns:a16="http://schemas.microsoft.com/office/drawing/2014/main" id="{5ECFE61B-3CCF-4B6E-ABF5-A8B91F291E8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47311" y="3675976"/>
                <a:ext cx="70393" cy="110008"/>
              </a:xfrm>
              <a:prstGeom prst="line">
                <a:avLst/>
              </a:prstGeom>
              <a:ln w="508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81B3E63C-438B-4BEA-AF42-C4899387A24E}"/>
              </a:ext>
            </a:extLst>
          </p:cNvPr>
          <p:cNvGrpSpPr/>
          <p:nvPr/>
        </p:nvGrpSpPr>
        <p:grpSpPr>
          <a:xfrm>
            <a:off x="1109204" y="4446085"/>
            <a:ext cx="811103" cy="801212"/>
            <a:chOff x="1109204" y="4446085"/>
            <a:chExt cx="811103" cy="801212"/>
          </a:xfrm>
        </p:grpSpPr>
        <p:grpSp>
          <p:nvGrpSpPr>
            <p:cNvPr id="89" name="Group 10">
              <a:extLst>
                <a:ext uri="{FF2B5EF4-FFF2-40B4-BE49-F238E27FC236}">
                  <a16:creationId xmlns:a16="http://schemas.microsoft.com/office/drawing/2014/main" id="{5B099AA7-5B72-4A0A-81A3-3C905C656DDE}"/>
                </a:ext>
              </a:extLst>
            </p:cNvPr>
            <p:cNvGrpSpPr/>
            <p:nvPr/>
          </p:nvGrpSpPr>
          <p:grpSpPr>
            <a:xfrm>
              <a:off x="1109204" y="4446085"/>
              <a:ext cx="811103" cy="801212"/>
              <a:chOff x="4279221" y="2033354"/>
              <a:chExt cx="1412875" cy="1395646"/>
            </a:xfrm>
          </p:grpSpPr>
          <p:sp>
            <p:nvSpPr>
              <p:cNvPr id="90" name="Freeform 5">
                <a:extLst>
                  <a:ext uri="{FF2B5EF4-FFF2-40B4-BE49-F238E27FC236}">
                    <a16:creationId xmlns:a16="http://schemas.microsoft.com/office/drawing/2014/main" id="{A0FDF9B4-21DF-4056-BF1A-491D8E7554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221" y="2081212"/>
                <a:ext cx="1412875" cy="1347788"/>
              </a:xfrm>
              <a:custGeom>
                <a:avLst/>
                <a:gdLst>
                  <a:gd name="T0" fmla="*/ 36 w 374"/>
                  <a:gd name="T1" fmla="*/ 145 h 356"/>
                  <a:gd name="T2" fmla="*/ 118 w 374"/>
                  <a:gd name="T3" fmla="*/ 65 h 356"/>
                  <a:gd name="T4" fmla="*/ 271 w 374"/>
                  <a:gd name="T5" fmla="*/ 39 h 356"/>
                  <a:gd name="T6" fmla="*/ 353 w 374"/>
                  <a:gd name="T7" fmla="*/ 207 h 356"/>
                  <a:gd name="T8" fmla="*/ 128 w 374"/>
                  <a:gd name="T9" fmla="*/ 310 h 356"/>
                  <a:gd name="T10" fmla="*/ 35 w 374"/>
                  <a:gd name="T11" fmla="*/ 218 h 356"/>
                  <a:gd name="T12" fmla="*/ 36 w 374"/>
                  <a:gd name="T13" fmla="*/ 14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4" h="356">
                    <a:moveTo>
                      <a:pt x="36" y="145"/>
                    </a:moveTo>
                    <a:cubicBezTo>
                      <a:pt x="61" y="130"/>
                      <a:pt x="78" y="127"/>
                      <a:pt x="118" y="65"/>
                    </a:cubicBezTo>
                    <a:cubicBezTo>
                      <a:pt x="159" y="3"/>
                      <a:pt x="231" y="0"/>
                      <a:pt x="271" y="39"/>
                    </a:cubicBezTo>
                    <a:cubicBezTo>
                      <a:pt x="311" y="78"/>
                      <a:pt x="374" y="119"/>
                      <a:pt x="353" y="207"/>
                    </a:cubicBezTo>
                    <a:cubicBezTo>
                      <a:pt x="332" y="296"/>
                      <a:pt x="216" y="356"/>
                      <a:pt x="128" y="310"/>
                    </a:cubicBezTo>
                    <a:cubicBezTo>
                      <a:pt x="76" y="282"/>
                      <a:pt x="53" y="251"/>
                      <a:pt x="35" y="218"/>
                    </a:cubicBezTo>
                    <a:cubicBezTo>
                      <a:pt x="23" y="196"/>
                      <a:pt x="0" y="166"/>
                      <a:pt x="36" y="1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">
                <a:extLst>
                  <a:ext uri="{FF2B5EF4-FFF2-40B4-BE49-F238E27FC236}">
                    <a16:creationId xmlns:a16="http://schemas.microsoft.com/office/drawing/2014/main" id="{A275B892-7C7B-4221-A415-8B7491633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7645" y="2033354"/>
                <a:ext cx="1216025" cy="1336675"/>
              </a:xfrm>
              <a:custGeom>
                <a:avLst/>
                <a:gdLst>
                  <a:gd name="T0" fmla="*/ 223 w 322"/>
                  <a:gd name="T1" fmla="*/ 21 h 353"/>
                  <a:gd name="T2" fmla="*/ 113 w 322"/>
                  <a:gd name="T3" fmla="*/ 52 h 353"/>
                  <a:gd name="T4" fmla="*/ 14 w 322"/>
                  <a:gd name="T5" fmla="*/ 172 h 353"/>
                  <a:gd name="T6" fmla="*/ 119 w 322"/>
                  <a:gd name="T7" fmla="*/ 327 h 353"/>
                  <a:gd name="T8" fmla="*/ 320 w 322"/>
                  <a:gd name="T9" fmla="*/ 183 h 353"/>
                  <a:gd name="T10" fmla="*/ 287 w 322"/>
                  <a:gd name="T11" fmla="*/ 56 h 353"/>
                  <a:gd name="T12" fmla="*/ 223 w 322"/>
                  <a:gd name="T13" fmla="*/ 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2" h="353">
                    <a:moveTo>
                      <a:pt x="223" y="21"/>
                    </a:moveTo>
                    <a:cubicBezTo>
                      <a:pt x="198" y="35"/>
                      <a:pt x="187" y="48"/>
                      <a:pt x="113" y="52"/>
                    </a:cubicBezTo>
                    <a:cubicBezTo>
                      <a:pt x="39" y="57"/>
                      <a:pt x="0" y="118"/>
                      <a:pt x="14" y="172"/>
                    </a:cubicBezTo>
                    <a:cubicBezTo>
                      <a:pt x="28" y="226"/>
                      <a:pt x="32" y="301"/>
                      <a:pt x="119" y="327"/>
                    </a:cubicBezTo>
                    <a:cubicBezTo>
                      <a:pt x="206" y="353"/>
                      <a:pt x="316" y="282"/>
                      <a:pt x="320" y="183"/>
                    </a:cubicBezTo>
                    <a:cubicBezTo>
                      <a:pt x="322" y="124"/>
                      <a:pt x="306" y="88"/>
                      <a:pt x="287" y="56"/>
                    </a:cubicBezTo>
                    <a:cubicBezTo>
                      <a:pt x="274" y="35"/>
                      <a:pt x="259" y="0"/>
                      <a:pt x="223" y="21"/>
                    </a:cubicBezTo>
                    <a:close/>
                  </a:path>
                </a:pathLst>
              </a:cu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lt1"/>
                  </a:solidFill>
                </a:endParaRPr>
              </a:p>
            </p:txBody>
          </p:sp>
        </p:grpSp>
        <p:grpSp>
          <p:nvGrpSpPr>
            <p:cNvPr id="19" name="Groep 18">
              <a:extLst>
                <a:ext uri="{FF2B5EF4-FFF2-40B4-BE49-F238E27FC236}">
                  <a16:creationId xmlns:a16="http://schemas.microsoft.com/office/drawing/2014/main" id="{790C5D08-A5CA-406E-A632-63CB48C3DA02}"/>
                </a:ext>
              </a:extLst>
            </p:cNvPr>
            <p:cNvGrpSpPr/>
            <p:nvPr/>
          </p:nvGrpSpPr>
          <p:grpSpPr>
            <a:xfrm>
              <a:off x="1486914" y="4701540"/>
              <a:ext cx="55683" cy="314577"/>
              <a:chOff x="1473266" y="4704599"/>
              <a:chExt cx="55683" cy="314577"/>
            </a:xfrm>
          </p:grpSpPr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284F9BB5-E7FE-48AC-9DB1-C6E31F5778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01107" y="4704599"/>
                <a:ext cx="0" cy="189981"/>
              </a:xfrm>
              <a:prstGeom prst="line">
                <a:avLst/>
              </a:prstGeom>
              <a:ln w="508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Ovaal 17">
                <a:extLst>
                  <a:ext uri="{FF2B5EF4-FFF2-40B4-BE49-F238E27FC236}">
                    <a16:creationId xmlns:a16="http://schemas.microsoft.com/office/drawing/2014/main" id="{8F0F0A4A-A64F-45F1-AA26-C4C6CA013791}"/>
                  </a:ext>
                </a:extLst>
              </p:cNvPr>
              <p:cNvSpPr/>
              <p:nvPr/>
            </p:nvSpPr>
            <p:spPr>
              <a:xfrm>
                <a:off x="1473266" y="4963493"/>
                <a:ext cx="55683" cy="556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1559595"/>
      </p:ext>
    </p:extLst>
  </p:cSld>
  <p:clrMapOvr>
    <a:masterClrMapping/>
  </p:clrMapOvr>
  <p:transition spd="med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9" name="Groep 18">
            <a:extLst>
              <a:ext uri="{FF2B5EF4-FFF2-40B4-BE49-F238E27FC236}">
                <a16:creationId xmlns:a16="http://schemas.microsoft.com/office/drawing/2014/main" id="{B012BB7B-59B7-483D-ABAD-4F1EA6621DCA}"/>
              </a:ext>
            </a:extLst>
          </p:cNvPr>
          <p:cNvGrpSpPr/>
          <p:nvPr/>
        </p:nvGrpSpPr>
        <p:grpSpPr>
          <a:xfrm>
            <a:off x="6729435" y="-6151"/>
            <a:ext cx="5467875" cy="6870300"/>
            <a:chOff x="6729434" y="-19111"/>
            <a:chExt cx="5467875" cy="6870300"/>
          </a:xfrm>
        </p:grpSpPr>
        <p:sp>
          <p:nvSpPr>
            <p:cNvPr id="162" name="Vrije vorm: vorm 161">
              <a:extLst>
                <a:ext uri="{FF2B5EF4-FFF2-40B4-BE49-F238E27FC236}">
                  <a16:creationId xmlns:a16="http://schemas.microsoft.com/office/drawing/2014/main" id="{69140FB9-C47E-4919-B4AE-4AD2B48066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39709" y="-19111"/>
              <a:ext cx="5457600" cy="3960000"/>
            </a:xfrm>
            <a:custGeom>
              <a:avLst/>
              <a:gdLst>
                <a:gd name="connsiteX0" fmla="*/ 0 w 5457600"/>
                <a:gd name="connsiteY0" fmla="*/ 0 h 3593920"/>
                <a:gd name="connsiteX1" fmla="*/ 5457600 w 5457600"/>
                <a:gd name="connsiteY1" fmla="*/ 0 h 3593920"/>
                <a:gd name="connsiteX2" fmla="*/ 5457600 w 5457600"/>
                <a:gd name="connsiteY2" fmla="*/ 2788739 h 3593920"/>
                <a:gd name="connsiteX3" fmla="*/ 0 w 5457600"/>
                <a:gd name="connsiteY3" fmla="*/ 3593920 h 359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7600" h="3593920">
                  <a:moveTo>
                    <a:pt x="0" y="0"/>
                  </a:moveTo>
                  <a:lnTo>
                    <a:pt x="5457600" y="0"/>
                  </a:lnTo>
                  <a:lnTo>
                    <a:pt x="5457600" y="2788739"/>
                  </a:lnTo>
                  <a:lnTo>
                    <a:pt x="0" y="3593920"/>
                  </a:lnTo>
                  <a:close/>
                </a:path>
              </a:pathLst>
            </a:cu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161" name="Stroomdiagram: Handmatige invoer 160">
              <a:extLst>
                <a:ext uri="{FF2B5EF4-FFF2-40B4-BE49-F238E27FC236}">
                  <a16:creationId xmlns:a16="http://schemas.microsoft.com/office/drawing/2014/main" id="{3CF59BB2-5663-465C-B93D-BDEDE8FBB1D1}"/>
                </a:ext>
              </a:extLst>
            </p:cNvPr>
            <p:cNvSpPr/>
            <p:nvPr/>
          </p:nvSpPr>
          <p:spPr>
            <a:xfrm>
              <a:off x="6729434" y="2765326"/>
              <a:ext cx="5457600" cy="4085863"/>
            </a:xfrm>
            <a:prstGeom prst="flowChartManualInput">
              <a:avLst/>
            </a:prstGeom>
            <a:blipFill dpi="0" rotWithShape="1">
              <a:blip r:embed="rId4"/>
              <a:srcRect/>
              <a:stretch>
                <a:fillRect t="-30000" r="-65000" b="-11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  <p:sp>
        <p:nvSpPr>
          <p:cNvPr id="23" name="Rechthoek 22">
            <a:extLst>
              <a:ext uri="{FF2B5EF4-FFF2-40B4-BE49-F238E27FC236}">
                <a16:creationId xmlns:a16="http://schemas.microsoft.com/office/drawing/2014/main" id="{FA8C1058-5758-416D-BCC9-22BBC3415310}"/>
              </a:ext>
            </a:extLst>
          </p:cNvPr>
          <p:cNvSpPr/>
          <p:nvPr/>
        </p:nvSpPr>
        <p:spPr>
          <a:xfrm rot="21058615">
            <a:off x="6712636" y="2295172"/>
            <a:ext cx="5762499" cy="178308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  <a:gs pos="5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0BCB3E69-208B-434E-9AB6-F70038F94C2C}"/>
              </a:ext>
            </a:extLst>
          </p:cNvPr>
          <p:cNvGrpSpPr/>
          <p:nvPr/>
        </p:nvGrpSpPr>
        <p:grpSpPr>
          <a:xfrm>
            <a:off x="874713" y="3429000"/>
            <a:ext cx="3489192" cy="430887"/>
            <a:chOff x="874713" y="2844451"/>
            <a:chExt cx="3489192" cy="430887"/>
          </a:xfrm>
        </p:grpSpPr>
        <p:grpSp>
          <p:nvGrpSpPr>
            <p:cNvPr id="47" name="Group 12">
              <a:extLst>
                <a:ext uri="{FF2B5EF4-FFF2-40B4-BE49-F238E27FC236}">
                  <a16:creationId xmlns:a16="http://schemas.microsoft.com/office/drawing/2014/main" id="{D84DA442-C8C1-42BE-A509-26FB18A1F949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51" name="Oval 179">
                <a:extLst>
                  <a:ext uri="{FF2B5EF4-FFF2-40B4-BE49-F238E27FC236}">
                    <a16:creationId xmlns:a16="http://schemas.microsoft.com/office/drawing/2014/main" id="{2289FC8C-BAD4-4F2A-9C1F-D4B076552795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188">
                <a:extLst>
                  <a:ext uri="{FF2B5EF4-FFF2-40B4-BE49-F238E27FC236}">
                    <a16:creationId xmlns:a16="http://schemas.microsoft.com/office/drawing/2014/main" id="{55E6547E-E708-42AB-B11E-497D8025979E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8" name="TextBox 192">
              <a:extLst>
                <a:ext uri="{FF2B5EF4-FFF2-40B4-BE49-F238E27FC236}">
                  <a16:creationId xmlns:a16="http://schemas.microsoft.com/office/drawing/2014/main" id="{FC3D56CC-4363-4AF9-8E96-8E339BC53C8A}"/>
                </a:ext>
              </a:extLst>
            </p:cNvPr>
            <p:cNvSpPr txBox="1"/>
            <p:nvPr/>
          </p:nvSpPr>
          <p:spPr>
            <a:xfrm>
              <a:off x="1713841" y="284445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ints earned by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rforming activitie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nd logging into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ameBus</a:t>
              </a: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Randomized controlled trial</a:t>
            </a:r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38CD91A5-D4CE-4CB5-8A7F-89DD87519C26}"/>
              </a:ext>
            </a:extLst>
          </p:cNvPr>
          <p:cNvGrpSpPr/>
          <p:nvPr/>
        </p:nvGrpSpPr>
        <p:grpSpPr>
          <a:xfrm>
            <a:off x="1362077" y="2219287"/>
            <a:ext cx="3489192" cy="430887"/>
            <a:chOff x="874713" y="1817231"/>
            <a:chExt cx="3489192" cy="430887"/>
          </a:xfrm>
        </p:grpSpPr>
        <p:grpSp>
          <p:nvGrpSpPr>
            <p:cNvPr id="56" name="Group 13">
              <a:extLst>
                <a:ext uri="{FF2B5EF4-FFF2-40B4-BE49-F238E27FC236}">
                  <a16:creationId xmlns:a16="http://schemas.microsoft.com/office/drawing/2014/main" id="{04753109-7078-4A58-88AE-7F61A6D59593}"/>
                </a:ext>
              </a:extLst>
            </p:cNvPr>
            <p:cNvGrpSpPr/>
            <p:nvPr/>
          </p:nvGrpSpPr>
          <p:grpSpPr>
            <a:xfrm>
              <a:off x="874713" y="1848524"/>
              <a:ext cx="487364" cy="368300"/>
              <a:chOff x="8102600" y="2032000"/>
              <a:chExt cx="487364" cy="368300"/>
            </a:xfrm>
          </p:grpSpPr>
          <p:sp>
            <p:nvSpPr>
              <p:cNvPr id="58" name="Oval 2">
                <a:extLst>
                  <a:ext uri="{FF2B5EF4-FFF2-40B4-BE49-F238E27FC236}">
                    <a16:creationId xmlns:a16="http://schemas.microsoft.com/office/drawing/2014/main" id="{7636993B-BC27-4D90-9373-E0FA17EB5F7A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187">
                <a:extLst>
                  <a:ext uri="{FF2B5EF4-FFF2-40B4-BE49-F238E27FC236}">
                    <a16:creationId xmlns:a16="http://schemas.microsoft.com/office/drawing/2014/main" id="{5F0FB9DF-332F-4733-8817-8EF2016B319B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7" name="TextBox 191">
              <a:extLst>
                <a:ext uri="{FF2B5EF4-FFF2-40B4-BE49-F238E27FC236}">
                  <a16:creationId xmlns:a16="http://schemas.microsoft.com/office/drawing/2014/main" id="{5C9683A5-CB64-4377-803F-45ACB0154E9E}"/>
                </a:ext>
              </a:extLst>
            </p:cNvPr>
            <p:cNvSpPr txBox="1"/>
            <p:nvPr/>
          </p:nvSpPr>
          <p:spPr>
            <a:xfrm>
              <a:off x="1713841" y="181723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6-week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igital health contest</a:t>
              </a:r>
              <a:b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ong TU/e students/employees</a:t>
              </a: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A723997E-8F79-46D8-A188-0F0F8CD78D48}"/>
              </a:ext>
            </a:extLst>
          </p:cNvPr>
          <p:cNvGrpSpPr/>
          <p:nvPr/>
        </p:nvGrpSpPr>
        <p:grpSpPr>
          <a:xfrm>
            <a:off x="1362077" y="4638713"/>
            <a:ext cx="3489192" cy="430887"/>
            <a:chOff x="874713" y="3871671"/>
            <a:chExt cx="3489192" cy="430887"/>
          </a:xfrm>
        </p:grpSpPr>
        <p:grpSp>
          <p:nvGrpSpPr>
            <p:cNvPr id="43" name="Group 5">
              <a:extLst>
                <a:ext uri="{FF2B5EF4-FFF2-40B4-BE49-F238E27FC236}">
                  <a16:creationId xmlns:a16="http://schemas.microsoft.com/office/drawing/2014/main" id="{80AD3F42-6668-4181-84C1-E03F5D111A36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45" name="Oval 180">
                <a:extLst>
                  <a:ext uri="{FF2B5EF4-FFF2-40B4-BE49-F238E27FC236}">
                    <a16:creationId xmlns:a16="http://schemas.microsoft.com/office/drawing/2014/main" id="{3CF9965C-CFAD-4952-9A57-B36195431BC5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189">
                <a:extLst>
                  <a:ext uri="{FF2B5EF4-FFF2-40B4-BE49-F238E27FC236}">
                    <a16:creationId xmlns:a16="http://schemas.microsoft.com/office/drawing/2014/main" id="{BD4A211D-D6C1-471E-A086-A69B7B562521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4" name="TextBox 193">
              <a:extLst>
                <a:ext uri="{FF2B5EF4-FFF2-40B4-BE49-F238E27FC236}">
                  <a16:creationId xmlns:a16="http://schemas.microsoft.com/office/drawing/2014/main" id="{7D6EAE88-6997-45F1-90EB-CA12A788D523}"/>
                </a:ext>
              </a:extLst>
            </p:cNvPr>
            <p:cNvSpPr txBox="1"/>
            <p:nvPr/>
          </p:nvSpPr>
          <p:spPr>
            <a:xfrm>
              <a:off x="1713841" y="387167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trol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random strategy</a:t>
              </a:r>
            </a:p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eatmen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adaptive persuasion</a:t>
              </a:r>
            </a:p>
          </p:txBody>
        </p:sp>
      </p:grp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38">
            <a:extLst>
              <a:ext uri="{FF2B5EF4-FFF2-40B4-BE49-F238E27FC236}">
                <a16:creationId xmlns:a16="http://schemas.microsoft.com/office/drawing/2014/main" id="{D2BC8156-5823-4AAB-BB05-0CCB56B2B3D0}"/>
              </a:ext>
            </a:extLst>
          </p:cNvPr>
          <p:cNvSpPr/>
          <p:nvPr/>
        </p:nvSpPr>
        <p:spPr>
          <a:xfrm>
            <a:off x="6729435" y="0"/>
            <a:ext cx="5462564" cy="68579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ep 15">
            <a:extLst>
              <a:ext uri="{FF2B5EF4-FFF2-40B4-BE49-F238E27FC236}">
                <a16:creationId xmlns:a16="http://schemas.microsoft.com/office/drawing/2014/main" id="{48BD6AF6-FFE9-4F25-B038-A772695B05A3}"/>
              </a:ext>
            </a:extLst>
          </p:cNvPr>
          <p:cNvGrpSpPr/>
          <p:nvPr/>
        </p:nvGrpSpPr>
        <p:grpSpPr>
          <a:xfrm>
            <a:off x="5837401" y="0"/>
            <a:ext cx="1420650" cy="6858000"/>
            <a:chOff x="5837401" y="0"/>
            <a:chExt cx="1420650" cy="6858000"/>
          </a:xfrm>
        </p:grpSpPr>
        <p:sp>
          <p:nvSpPr>
            <p:cNvPr id="147" name="Freeform 36">
              <a:extLst>
                <a:ext uri="{FF2B5EF4-FFF2-40B4-BE49-F238E27FC236}">
                  <a16:creationId xmlns:a16="http://schemas.microsoft.com/office/drawing/2014/main" id="{09CAA946-D9A8-409D-906E-9FE578DBE7BB}"/>
                </a:ext>
              </a:extLst>
            </p:cNvPr>
            <p:cNvSpPr/>
            <p:nvPr/>
          </p:nvSpPr>
          <p:spPr>
            <a:xfrm>
              <a:off x="5837401" y="0"/>
              <a:ext cx="1420650" cy="6858000"/>
            </a:xfrm>
            <a:custGeom>
              <a:avLst/>
              <a:gdLst>
                <a:gd name="connsiteX0" fmla="*/ 585977 w 1537687"/>
                <a:gd name="connsiteY0" fmla="*/ 0 h 6858000"/>
                <a:gd name="connsiteX1" fmla="*/ 1368880 w 1537687"/>
                <a:gd name="connsiteY1" fmla="*/ 0 h 6858000"/>
                <a:gd name="connsiteX2" fmla="*/ 1373883 w 1537687"/>
                <a:gd name="connsiteY2" fmla="*/ 18103 h 6858000"/>
                <a:gd name="connsiteX3" fmla="*/ 1513436 w 1537687"/>
                <a:gd name="connsiteY3" fmla="*/ 1774664 h 6858000"/>
                <a:gd name="connsiteX4" fmla="*/ 1242006 w 1537687"/>
                <a:gd name="connsiteY4" fmla="*/ 6609767 h 6858000"/>
                <a:gd name="connsiteX5" fmla="*/ 1305969 w 1537687"/>
                <a:gd name="connsiteY5" fmla="*/ 6858000 h 6858000"/>
                <a:gd name="connsiteX6" fmla="*/ 269403 w 1537687"/>
                <a:gd name="connsiteY6" fmla="*/ 6858000 h 6858000"/>
                <a:gd name="connsiteX7" fmla="*/ 264207 w 1537687"/>
                <a:gd name="connsiteY7" fmla="*/ 6846573 h 6858000"/>
                <a:gd name="connsiteX8" fmla="*/ 19853 w 1537687"/>
                <a:gd name="connsiteY8" fmla="*/ 4746914 h 6858000"/>
                <a:gd name="connsiteX9" fmla="*/ 874774 w 1537687"/>
                <a:gd name="connsiteY9" fmla="*/ 1021492 h 6858000"/>
                <a:gd name="connsiteX10" fmla="*/ 665204 w 1537687"/>
                <a:gd name="connsiteY10" fmla="*/ 157889 h 6858000"/>
                <a:gd name="connsiteX11" fmla="*/ 585977 w 1537687"/>
                <a:gd name="connsiteY1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7687" h="6858000">
                  <a:moveTo>
                    <a:pt x="585977" y="0"/>
                  </a:moveTo>
                  <a:lnTo>
                    <a:pt x="1368880" y="0"/>
                  </a:lnTo>
                  <a:lnTo>
                    <a:pt x="1373883" y="18103"/>
                  </a:lnTo>
                  <a:cubicBezTo>
                    <a:pt x="1500291" y="517863"/>
                    <a:pt x="1580470" y="1121717"/>
                    <a:pt x="1513436" y="1774664"/>
                  </a:cubicBezTo>
                  <a:cubicBezTo>
                    <a:pt x="1345853" y="3407030"/>
                    <a:pt x="846406" y="4856808"/>
                    <a:pt x="1242006" y="6609767"/>
                  </a:cubicBezTo>
                  <a:lnTo>
                    <a:pt x="1305969" y="6858000"/>
                  </a:lnTo>
                  <a:lnTo>
                    <a:pt x="269403" y="6858000"/>
                  </a:lnTo>
                  <a:lnTo>
                    <a:pt x="264207" y="6846573"/>
                  </a:lnTo>
                  <a:cubicBezTo>
                    <a:pt x="133263" y="6541394"/>
                    <a:pt x="-63261" y="5876595"/>
                    <a:pt x="19853" y="4746914"/>
                  </a:cubicBezTo>
                  <a:cubicBezTo>
                    <a:pt x="140746" y="3103741"/>
                    <a:pt x="888263" y="2228077"/>
                    <a:pt x="874774" y="1021492"/>
                  </a:cubicBezTo>
                  <a:cubicBezTo>
                    <a:pt x="871402" y="719846"/>
                    <a:pt x="788164" y="427193"/>
                    <a:pt x="665204" y="157889"/>
                  </a:cubicBezTo>
                  <a:lnTo>
                    <a:pt x="585977" y="0"/>
                  </a:ln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Freeform 20">
              <a:extLst>
                <a:ext uri="{FF2B5EF4-FFF2-40B4-BE49-F238E27FC236}">
                  <a16:creationId xmlns:a16="http://schemas.microsoft.com/office/drawing/2014/main" id="{71B4812F-1FF7-4D9B-9BC0-20EA57D36E9A}"/>
                </a:ext>
              </a:extLst>
            </p:cNvPr>
            <p:cNvSpPr/>
            <p:nvPr/>
          </p:nvSpPr>
          <p:spPr>
            <a:xfrm>
              <a:off x="6017266" y="0"/>
              <a:ext cx="961052" cy="2223249"/>
            </a:xfrm>
            <a:custGeom>
              <a:avLst/>
              <a:gdLst>
                <a:gd name="connsiteX0" fmla="*/ 0 w 961052"/>
                <a:gd name="connsiteY0" fmla="*/ 0 h 2223249"/>
                <a:gd name="connsiteX1" fmla="*/ 932141 w 961052"/>
                <a:gd name="connsiteY1" fmla="*/ 0 h 2223249"/>
                <a:gd name="connsiteX2" fmla="*/ 943375 w 961052"/>
                <a:gd name="connsiteY2" fmla="*/ 75956 h 2223249"/>
                <a:gd name="connsiteX3" fmla="*/ 937229 w 961052"/>
                <a:gd name="connsiteY3" fmla="*/ 794456 h 2223249"/>
                <a:gd name="connsiteX4" fmla="*/ 643773 w 961052"/>
                <a:gd name="connsiteY4" fmla="*/ 2162806 h 2223249"/>
                <a:gd name="connsiteX5" fmla="*/ 624925 w 961052"/>
                <a:gd name="connsiteY5" fmla="*/ 2223249 h 2223249"/>
                <a:gd name="connsiteX6" fmla="*/ 582163 w 961052"/>
                <a:gd name="connsiteY6" fmla="*/ 1954939 h 2223249"/>
                <a:gd name="connsiteX7" fmla="*/ 30729 w 961052"/>
                <a:gd name="connsiteY7" fmla="*/ 72032 h 2223249"/>
                <a:gd name="connsiteX8" fmla="*/ 0 w 961052"/>
                <a:gd name="connsiteY8" fmla="*/ 0 h 2223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1052" h="2223249">
                  <a:moveTo>
                    <a:pt x="0" y="0"/>
                  </a:moveTo>
                  <a:lnTo>
                    <a:pt x="932141" y="0"/>
                  </a:lnTo>
                  <a:lnTo>
                    <a:pt x="943375" y="75956"/>
                  </a:lnTo>
                  <a:cubicBezTo>
                    <a:pt x="967053" y="290844"/>
                    <a:pt x="968799" y="530369"/>
                    <a:pt x="937229" y="794456"/>
                  </a:cubicBezTo>
                  <a:cubicBezTo>
                    <a:pt x="874089" y="1322631"/>
                    <a:pt x="764091" y="1765359"/>
                    <a:pt x="643773" y="2162806"/>
                  </a:cubicBezTo>
                  <a:lnTo>
                    <a:pt x="624925" y="2223249"/>
                  </a:lnTo>
                  <a:lnTo>
                    <a:pt x="582163" y="1954939"/>
                  </a:lnTo>
                  <a:cubicBezTo>
                    <a:pt x="460650" y="1299270"/>
                    <a:pt x="263338" y="637264"/>
                    <a:pt x="30729" y="7203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B3838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B3838"/>
                </a:solidFill>
              </a:endParaRPr>
            </a:p>
          </p:txBody>
        </p:sp>
        <p:sp>
          <p:nvSpPr>
            <p:cNvPr id="149" name="Freeform 19">
              <a:extLst>
                <a:ext uri="{FF2B5EF4-FFF2-40B4-BE49-F238E27FC236}">
                  <a16:creationId xmlns:a16="http://schemas.microsoft.com/office/drawing/2014/main" id="{068BDA42-B900-40F1-9833-006A57B6C9D6}"/>
                </a:ext>
              </a:extLst>
            </p:cNvPr>
            <p:cNvSpPr/>
            <p:nvPr/>
          </p:nvSpPr>
          <p:spPr>
            <a:xfrm>
              <a:off x="6129214" y="2223249"/>
              <a:ext cx="600221" cy="2682801"/>
            </a:xfrm>
            <a:custGeom>
              <a:avLst/>
              <a:gdLst>
                <a:gd name="connsiteX0" fmla="*/ 512978 w 600221"/>
                <a:gd name="connsiteY0" fmla="*/ 0 h 2682801"/>
                <a:gd name="connsiteX1" fmla="*/ 539551 w 600221"/>
                <a:gd name="connsiteY1" fmla="*/ 166732 h 2682801"/>
                <a:gd name="connsiteX2" fmla="*/ 334589 w 600221"/>
                <a:gd name="connsiteY2" fmla="*/ 2357349 h 2682801"/>
                <a:gd name="connsiteX3" fmla="*/ 205180 w 600221"/>
                <a:gd name="connsiteY3" fmla="*/ 2612139 h 2682801"/>
                <a:gd name="connsiteX4" fmla="*/ 174960 w 600221"/>
                <a:gd name="connsiteY4" fmla="*/ 2682801 h 2682801"/>
                <a:gd name="connsiteX5" fmla="*/ 155655 w 600221"/>
                <a:gd name="connsiteY5" fmla="*/ 2635634 h 2682801"/>
                <a:gd name="connsiteX6" fmla="*/ 13414 w 600221"/>
                <a:gd name="connsiteY6" fmla="*/ 1735389 h 2682801"/>
                <a:gd name="connsiteX7" fmla="*/ 470976 w 600221"/>
                <a:gd name="connsiteY7" fmla="*/ 134692 h 2682801"/>
                <a:gd name="connsiteX8" fmla="*/ 512978 w 600221"/>
                <a:gd name="connsiteY8" fmla="*/ 0 h 268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0221" h="2682801">
                  <a:moveTo>
                    <a:pt x="512978" y="0"/>
                  </a:moveTo>
                  <a:lnTo>
                    <a:pt x="539551" y="166732"/>
                  </a:lnTo>
                  <a:cubicBezTo>
                    <a:pt x="653985" y="1030412"/>
                    <a:pt x="617665" y="1842090"/>
                    <a:pt x="334589" y="2357349"/>
                  </a:cubicBezTo>
                  <a:cubicBezTo>
                    <a:pt x="287284" y="2443375"/>
                    <a:pt x="244265" y="2528374"/>
                    <a:pt x="205180" y="2612139"/>
                  </a:cubicBezTo>
                  <a:lnTo>
                    <a:pt x="174960" y="2682801"/>
                  </a:lnTo>
                  <a:lnTo>
                    <a:pt x="155655" y="2635634"/>
                  </a:lnTo>
                  <a:cubicBezTo>
                    <a:pt x="39333" y="2332209"/>
                    <a:pt x="-30930" y="2033786"/>
                    <a:pt x="13414" y="1735389"/>
                  </a:cubicBezTo>
                  <a:cubicBezTo>
                    <a:pt x="93235" y="1198274"/>
                    <a:pt x="286863" y="709894"/>
                    <a:pt x="470976" y="134692"/>
                  </a:cubicBezTo>
                  <a:lnTo>
                    <a:pt x="512978" y="0"/>
                  </a:lnTo>
                  <a:close/>
                </a:path>
              </a:pathLst>
            </a:custGeom>
            <a:solidFill>
              <a:srgbClr val="3B3838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B3838"/>
                </a:soli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C78A5FC0-48EA-4A9F-8101-4F73C6CE1557}"/>
                </a:ext>
              </a:extLst>
            </p:cNvPr>
            <p:cNvSpPr/>
            <p:nvPr/>
          </p:nvSpPr>
          <p:spPr>
            <a:xfrm>
              <a:off x="5970893" y="4906049"/>
              <a:ext cx="1020610" cy="1951950"/>
            </a:xfrm>
            <a:custGeom>
              <a:avLst/>
              <a:gdLst>
                <a:gd name="connsiteX0" fmla="*/ 333281 w 1020610"/>
                <a:gd name="connsiteY0" fmla="*/ 0 h 1951950"/>
                <a:gd name="connsiteX1" fmla="*/ 388749 w 1020610"/>
                <a:gd name="connsiteY1" fmla="*/ 135528 h 1951950"/>
                <a:gd name="connsiteX2" fmla="*/ 1020610 w 1020610"/>
                <a:gd name="connsiteY2" fmla="*/ 1950741 h 1951950"/>
                <a:gd name="connsiteX3" fmla="*/ 1020610 w 1020610"/>
                <a:gd name="connsiteY3" fmla="*/ 1951950 h 1951950"/>
                <a:gd name="connsiteX4" fmla="*/ 32515 w 1020610"/>
                <a:gd name="connsiteY4" fmla="*/ 1951950 h 1951950"/>
                <a:gd name="connsiteX5" fmla="*/ 29320 w 1020610"/>
                <a:gd name="connsiteY5" fmla="*/ 1932141 h 1951950"/>
                <a:gd name="connsiteX6" fmla="*/ 257700 w 1020610"/>
                <a:gd name="connsiteY6" fmla="*/ 176721 h 1951950"/>
                <a:gd name="connsiteX7" fmla="*/ 333281 w 1020610"/>
                <a:gd name="connsiteY7" fmla="*/ 0 h 195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0610" h="1951950">
                  <a:moveTo>
                    <a:pt x="333281" y="0"/>
                  </a:moveTo>
                  <a:lnTo>
                    <a:pt x="388749" y="135528"/>
                  </a:lnTo>
                  <a:cubicBezTo>
                    <a:pt x="636259" y="708576"/>
                    <a:pt x="997498" y="1302710"/>
                    <a:pt x="1020610" y="1950741"/>
                  </a:cubicBezTo>
                  <a:lnTo>
                    <a:pt x="1020610" y="1951950"/>
                  </a:lnTo>
                  <a:lnTo>
                    <a:pt x="32515" y="1951950"/>
                  </a:lnTo>
                  <a:lnTo>
                    <a:pt x="29320" y="1932141"/>
                  </a:lnTo>
                  <a:cubicBezTo>
                    <a:pt x="-17956" y="1604064"/>
                    <a:pt x="-46126" y="957193"/>
                    <a:pt x="257700" y="176721"/>
                  </a:cubicBezTo>
                  <a:lnTo>
                    <a:pt x="333281" y="0"/>
                  </a:lnTo>
                  <a:close/>
                </a:path>
              </a:pathLst>
            </a:custGeom>
            <a:solidFill>
              <a:srgbClr val="3B3838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B383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2841424"/>
      </p:ext>
    </p:extLst>
  </p:cSld>
  <p:clrMapOvr>
    <a:masterClrMapping/>
  </p:clrMapOvr>
  <p:transition spd="med">
    <p:push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0894192-17FC-46C9-899C-FA0FCF35BA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3525397"/>
            <a:ext cx="6159500" cy="962383"/>
          </a:xfrm>
        </p:spPr>
        <p:txBody>
          <a:bodyPr/>
          <a:lstStyle/>
          <a:p>
            <a:r>
              <a:rPr lang="nl-NL" b="1" dirty="0"/>
              <a:t>RESULTS</a:t>
            </a:r>
            <a:endParaRPr lang="en-NL" b="1" dirty="0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43976CA0-7A49-45A6-A037-5EC5B9BE0047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71154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warp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304570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GOAL projec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74713" y="910465"/>
            <a:ext cx="601607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>
                <a:solidFill>
                  <a:srgbClr val="C81919"/>
                </a:solidFill>
                <a:latin typeface="Century Gothic" panose="020B0502020202020204" pitchFamily="34" charset="0"/>
              </a:rPr>
              <a:t>G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mification for </a:t>
            </a:r>
            <a:r>
              <a:rPr lang="en-US" sz="1600" b="1" dirty="0">
                <a:solidFill>
                  <a:srgbClr val="C81919"/>
                </a:solidFill>
                <a:latin typeface="Century Gothic" panose="020B0502020202020204" pitchFamily="34" charset="0"/>
              </a:rPr>
              <a:t>O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verweight prevention and </a:t>
            </a:r>
            <a:r>
              <a:rPr lang="en-US" sz="1600" b="1" dirty="0">
                <a:solidFill>
                  <a:srgbClr val="C81919"/>
                </a:solidFill>
                <a:latin typeface="Century Gothic" panose="020B0502020202020204" pitchFamily="34" charset="0"/>
              </a:rPr>
              <a:t>A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tive </a:t>
            </a:r>
            <a:r>
              <a:rPr lang="en-US" sz="1600" b="1" dirty="0">
                <a:solidFill>
                  <a:srgbClr val="C81919"/>
                </a:solidFill>
                <a:latin typeface="Century Gothic" panose="020B0502020202020204" pitchFamily="34" charset="0"/>
              </a:rPr>
              <a:t>L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festyle</a:t>
            </a:r>
            <a:r>
              <a:rPr lang="en-US" sz="1600" kern="0" baseline="3000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1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60461" y="-93729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48" name="Groep 7">
            <a:extLst>
              <a:ext uri="{FF2B5EF4-FFF2-40B4-BE49-F238E27FC236}">
                <a16:creationId xmlns:a16="http://schemas.microsoft.com/office/drawing/2014/main" id="{6657E544-C98A-4609-84AC-2A29A5F71A5A}"/>
              </a:ext>
            </a:extLst>
          </p:cNvPr>
          <p:cNvGrpSpPr/>
          <p:nvPr/>
        </p:nvGrpSpPr>
        <p:grpSpPr>
          <a:xfrm>
            <a:off x="874713" y="3429000"/>
            <a:ext cx="4163818" cy="430887"/>
            <a:chOff x="874713" y="2844451"/>
            <a:chExt cx="4163818" cy="430887"/>
          </a:xfrm>
        </p:grpSpPr>
        <p:grpSp>
          <p:nvGrpSpPr>
            <p:cNvPr id="49" name="Group 12">
              <a:extLst>
                <a:ext uri="{FF2B5EF4-FFF2-40B4-BE49-F238E27FC236}">
                  <a16:creationId xmlns:a16="http://schemas.microsoft.com/office/drawing/2014/main" id="{73D75E65-6BAC-427A-96EF-09A47632D0A4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51" name="Oval 179">
                <a:extLst>
                  <a:ext uri="{FF2B5EF4-FFF2-40B4-BE49-F238E27FC236}">
                    <a16:creationId xmlns:a16="http://schemas.microsoft.com/office/drawing/2014/main" id="{BFC44FB4-F08D-4537-8A5E-DBFD075388AF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188">
                <a:extLst>
                  <a:ext uri="{FF2B5EF4-FFF2-40B4-BE49-F238E27FC236}">
                    <a16:creationId xmlns:a16="http://schemas.microsoft.com/office/drawing/2014/main" id="{5C63E29D-A680-4102-BFDA-E16762042DB7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0" name="TextBox 192">
              <a:extLst>
                <a:ext uri="{FF2B5EF4-FFF2-40B4-BE49-F238E27FC236}">
                  <a16:creationId xmlns:a16="http://schemas.microsoft.com/office/drawing/2014/main" id="{11FFB885-91CE-4E78-AA7B-FFEA612EEE1B}"/>
                </a:ext>
              </a:extLst>
            </p:cNvPr>
            <p:cNvSpPr txBox="1"/>
            <p:nvPr/>
          </p:nvSpPr>
          <p:spPr>
            <a:xfrm>
              <a:off x="1713841" y="2844451"/>
              <a:ext cx="332469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cludes psychosocial, built environment and health game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sign factors</a:t>
              </a:r>
            </a:p>
          </p:txBody>
        </p:sp>
      </p:grpSp>
      <p:grpSp>
        <p:nvGrpSpPr>
          <p:cNvPr id="53" name="Groep 5">
            <a:extLst>
              <a:ext uri="{FF2B5EF4-FFF2-40B4-BE49-F238E27FC236}">
                <a16:creationId xmlns:a16="http://schemas.microsoft.com/office/drawing/2014/main" id="{063E0A15-1087-452F-BD3E-C2684E1198DA}"/>
              </a:ext>
            </a:extLst>
          </p:cNvPr>
          <p:cNvGrpSpPr/>
          <p:nvPr/>
        </p:nvGrpSpPr>
        <p:grpSpPr>
          <a:xfrm>
            <a:off x="1362077" y="2219287"/>
            <a:ext cx="4366918" cy="430887"/>
            <a:chOff x="874713" y="1817231"/>
            <a:chExt cx="4366918" cy="430887"/>
          </a:xfrm>
        </p:grpSpPr>
        <p:grpSp>
          <p:nvGrpSpPr>
            <p:cNvPr id="54" name="Group 13">
              <a:extLst>
                <a:ext uri="{FF2B5EF4-FFF2-40B4-BE49-F238E27FC236}">
                  <a16:creationId xmlns:a16="http://schemas.microsoft.com/office/drawing/2014/main" id="{9054B471-944C-4258-85B8-63B71C5DFEED}"/>
                </a:ext>
              </a:extLst>
            </p:cNvPr>
            <p:cNvGrpSpPr/>
            <p:nvPr/>
          </p:nvGrpSpPr>
          <p:grpSpPr>
            <a:xfrm>
              <a:off x="874713" y="1848524"/>
              <a:ext cx="487364" cy="368300"/>
              <a:chOff x="8102600" y="2032000"/>
              <a:chExt cx="487364" cy="368300"/>
            </a:xfrm>
          </p:grpSpPr>
          <p:sp>
            <p:nvSpPr>
              <p:cNvPr id="56" name="Oval 2">
                <a:extLst>
                  <a:ext uri="{FF2B5EF4-FFF2-40B4-BE49-F238E27FC236}">
                    <a16:creationId xmlns:a16="http://schemas.microsoft.com/office/drawing/2014/main" id="{BD31D104-1EC8-475D-9769-288B1ECB1B17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187">
                <a:extLst>
                  <a:ext uri="{FF2B5EF4-FFF2-40B4-BE49-F238E27FC236}">
                    <a16:creationId xmlns:a16="http://schemas.microsoft.com/office/drawing/2014/main" id="{65A6F0B3-2C53-4007-8895-451936F5F53F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5" name="TextBox 191">
              <a:extLst>
                <a:ext uri="{FF2B5EF4-FFF2-40B4-BE49-F238E27FC236}">
                  <a16:creationId xmlns:a16="http://schemas.microsoft.com/office/drawing/2014/main" id="{D76A69A6-FE3D-4687-B1DC-82142887BC4F}"/>
                </a:ext>
              </a:extLst>
            </p:cNvPr>
            <p:cNvSpPr txBox="1"/>
            <p:nvPr/>
          </p:nvSpPr>
          <p:spPr>
            <a:xfrm>
              <a:off x="1713840" y="1817231"/>
              <a:ext cx="3527791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im to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uild theoretical framework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for developing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rsonalized </a:t>
              </a:r>
              <a:r>
                <a:rPr lang="en-US" sz="14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Heath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ventions</a:t>
              </a:r>
              <a:endParaRPr lang="en-US" sz="1400" baseline="30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60" name="Groep 8">
            <a:extLst>
              <a:ext uri="{FF2B5EF4-FFF2-40B4-BE49-F238E27FC236}">
                <a16:creationId xmlns:a16="http://schemas.microsoft.com/office/drawing/2014/main" id="{7CD388BD-74D9-4C5F-8F41-213722CA9804}"/>
              </a:ext>
            </a:extLst>
          </p:cNvPr>
          <p:cNvGrpSpPr/>
          <p:nvPr/>
        </p:nvGrpSpPr>
        <p:grpSpPr>
          <a:xfrm>
            <a:off x="1362077" y="4654359"/>
            <a:ext cx="3489192" cy="383947"/>
            <a:chOff x="874713" y="3887317"/>
            <a:chExt cx="3489192" cy="383947"/>
          </a:xfrm>
        </p:grpSpPr>
        <p:grpSp>
          <p:nvGrpSpPr>
            <p:cNvPr id="61" name="Group 5">
              <a:extLst>
                <a:ext uri="{FF2B5EF4-FFF2-40B4-BE49-F238E27FC236}">
                  <a16:creationId xmlns:a16="http://schemas.microsoft.com/office/drawing/2014/main" id="{BCDC33F3-B042-446A-B077-4A7358CB94CE}"/>
                </a:ext>
              </a:extLst>
            </p:cNvPr>
            <p:cNvGrpSpPr/>
            <p:nvPr/>
          </p:nvGrpSpPr>
          <p:grpSpPr>
            <a:xfrm>
              <a:off x="874713" y="3887317"/>
              <a:ext cx="487364" cy="383947"/>
              <a:chOff x="8102600" y="3805575"/>
              <a:chExt cx="487364" cy="383947"/>
            </a:xfrm>
          </p:grpSpPr>
          <p:sp>
            <p:nvSpPr>
              <p:cNvPr id="63" name="Oval 180">
                <a:extLst>
                  <a:ext uri="{FF2B5EF4-FFF2-40B4-BE49-F238E27FC236}">
                    <a16:creationId xmlns:a16="http://schemas.microsoft.com/office/drawing/2014/main" id="{87068193-DED1-4F79-96DA-8A1F6FB839BA}"/>
                  </a:ext>
                </a:extLst>
              </p:cNvPr>
              <p:cNvSpPr/>
              <p:nvPr/>
            </p:nvSpPr>
            <p:spPr>
              <a:xfrm>
                <a:off x="8102600" y="3805575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189">
                <a:extLst>
                  <a:ext uri="{FF2B5EF4-FFF2-40B4-BE49-F238E27FC236}">
                    <a16:creationId xmlns:a16="http://schemas.microsoft.com/office/drawing/2014/main" id="{1DD462B9-7D77-4C3E-8A8A-7D4E03A98C02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2" name="TextBox 193">
              <a:extLst>
                <a:ext uri="{FF2B5EF4-FFF2-40B4-BE49-F238E27FC236}">
                  <a16:creationId xmlns:a16="http://schemas.microsoft.com/office/drawing/2014/main" id="{B4849110-0616-4E4A-9355-994D0E4581F9}"/>
                </a:ext>
              </a:extLst>
            </p:cNvPr>
            <p:cNvSpPr txBox="1"/>
            <p:nvPr/>
          </p:nvSpPr>
          <p:spPr>
            <a:xfrm>
              <a:off x="1713841" y="3963745"/>
              <a:ext cx="26500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nded by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utch Ministry of Health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6C723142-556F-4AFD-9FC0-C1599B93E1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3007" y="2175349"/>
            <a:ext cx="4366916" cy="26201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11000" endPos="28000" dist="5000" dir="5400000" sy="-100000" algn="bl" rotWithShape="0"/>
          </a:effectLst>
        </p:spPr>
      </p:pic>
      <p:sp>
        <p:nvSpPr>
          <p:cNvPr id="66" name="Google Shape;349;p22">
            <a:extLst>
              <a:ext uri="{FF2B5EF4-FFF2-40B4-BE49-F238E27FC236}">
                <a16:creationId xmlns:a16="http://schemas.microsoft.com/office/drawing/2014/main" id="{DF365DAA-652F-43D5-9A4B-90CCE2DE3472}"/>
              </a:ext>
            </a:extLst>
          </p:cNvPr>
          <p:cNvSpPr/>
          <p:nvPr/>
        </p:nvSpPr>
        <p:spPr>
          <a:xfrm>
            <a:off x="345034" y="6436165"/>
            <a:ext cx="11624334" cy="1523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nl-NL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[1] https://healthgoal.eu/</a:t>
            </a:r>
          </a:p>
        </p:txBody>
      </p:sp>
    </p:spTree>
    <p:extLst>
      <p:ext uri="{BB962C8B-B14F-4D97-AF65-F5344CB8AC3E}">
        <p14:creationId xmlns:p14="http://schemas.microsoft.com/office/powerpoint/2010/main" val="2131259544"/>
      </p:ext>
    </p:extLst>
  </p:cSld>
  <p:clrMapOvr>
    <a:masterClrMapping/>
  </p:clrMapOvr>
  <p:transition spd="med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149560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Result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Intervention results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B95F6DB9-7BE4-40C1-8D07-36063CE1A6D9}"/>
              </a:ext>
            </a:extLst>
          </p:cNvPr>
          <p:cNvGrpSpPr/>
          <p:nvPr/>
        </p:nvGrpSpPr>
        <p:grpSpPr>
          <a:xfrm>
            <a:off x="2190794" y="2104906"/>
            <a:ext cx="2243519" cy="661416"/>
            <a:chOff x="2000681" y="2086778"/>
            <a:chExt cx="2243519" cy="661416"/>
          </a:xfrm>
        </p:grpSpPr>
        <p:sp>
          <p:nvSpPr>
            <p:cNvPr id="93" name="TextBox 51">
              <a:extLst>
                <a:ext uri="{FF2B5EF4-FFF2-40B4-BE49-F238E27FC236}">
                  <a16:creationId xmlns:a16="http://schemas.microsoft.com/office/drawing/2014/main" id="{6CC5E981-D3CA-4254-9FD9-8D9174AE9DD6}"/>
                </a:ext>
              </a:extLst>
            </p:cNvPr>
            <p:cNvSpPr txBox="1"/>
            <p:nvPr/>
          </p:nvSpPr>
          <p:spPr>
            <a:xfrm>
              <a:off x="2000681" y="2086778"/>
              <a:ext cx="145937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404040"/>
                  </a:solidFill>
                </a:rPr>
                <a:t>Participant dropout</a:t>
              </a:r>
            </a:p>
          </p:txBody>
        </p:sp>
        <p:sp>
          <p:nvSpPr>
            <p:cNvPr id="94" name="TextBox 52">
              <a:extLst>
                <a:ext uri="{FF2B5EF4-FFF2-40B4-BE49-F238E27FC236}">
                  <a16:creationId xmlns:a16="http://schemas.microsoft.com/office/drawing/2014/main" id="{A50AE577-0313-43AF-A590-CEC9639397E2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dirty="0">
                  <a:solidFill>
                    <a:srgbClr val="404040"/>
                  </a:solidFill>
                  <a:cs typeface="Calibri Light" panose="020F0302020204030204" pitchFamily="34" charset="0"/>
                </a:rPr>
                <a:t>N = 149 at start of intervention</a:t>
              </a:r>
              <a:br>
                <a:rPr lang="en-US" sz="1200" dirty="0">
                  <a:solidFill>
                    <a:srgbClr val="404040"/>
                  </a:solidFill>
                  <a:cs typeface="Calibri Light" panose="020F0302020204030204" pitchFamily="34" charset="0"/>
                </a:rPr>
              </a:br>
              <a:r>
                <a:rPr lang="en-US" sz="1200" dirty="0">
                  <a:solidFill>
                    <a:srgbClr val="404040"/>
                  </a:solidFill>
                  <a:cs typeface="Calibri Light" panose="020F0302020204030204" pitchFamily="34" charset="0"/>
                </a:rPr>
                <a:t>N = 22 included in analysis</a:t>
              </a:r>
            </a:p>
          </p:txBody>
        </p:sp>
      </p:grpSp>
      <p:grpSp>
        <p:nvGrpSpPr>
          <p:cNvPr id="96" name="Groep 95">
            <a:extLst>
              <a:ext uri="{FF2B5EF4-FFF2-40B4-BE49-F238E27FC236}">
                <a16:creationId xmlns:a16="http://schemas.microsoft.com/office/drawing/2014/main" id="{21379B95-8D19-47D7-8F6B-937CEF515C70}"/>
              </a:ext>
            </a:extLst>
          </p:cNvPr>
          <p:cNvGrpSpPr/>
          <p:nvPr/>
        </p:nvGrpSpPr>
        <p:grpSpPr>
          <a:xfrm>
            <a:off x="2190794" y="3307154"/>
            <a:ext cx="2243519" cy="661416"/>
            <a:chOff x="2000681" y="2086778"/>
            <a:chExt cx="2243519" cy="661416"/>
          </a:xfrm>
        </p:grpSpPr>
        <p:sp>
          <p:nvSpPr>
            <p:cNvPr id="97" name="TextBox 51">
              <a:extLst>
                <a:ext uri="{FF2B5EF4-FFF2-40B4-BE49-F238E27FC236}">
                  <a16:creationId xmlns:a16="http://schemas.microsoft.com/office/drawing/2014/main" id="{4F68BEED-375B-4EF7-A4B3-9CA7F55793BA}"/>
                </a:ext>
              </a:extLst>
            </p:cNvPr>
            <p:cNvSpPr txBox="1"/>
            <p:nvPr/>
          </p:nvSpPr>
          <p:spPr>
            <a:xfrm>
              <a:off x="2000681" y="2086778"/>
              <a:ext cx="169136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404040"/>
                  </a:solidFill>
                </a:rPr>
                <a:t>Message performance </a:t>
              </a:r>
            </a:p>
          </p:txBody>
        </p:sp>
        <p:sp>
          <p:nvSpPr>
            <p:cNvPr id="98" name="TextBox 52">
              <a:extLst>
                <a:ext uri="{FF2B5EF4-FFF2-40B4-BE49-F238E27FC236}">
                  <a16:creationId xmlns:a16="http://schemas.microsoft.com/office/drawing/2014/main" id="{A956EB3D-64DF-414C-A770-087397DFA4C1}"/>
                </a:ext>
              </a:extLst>
            </p:cNvPr>
            <p:cNvSpPr txBox="1"/>
            <p:nvPr/>
          </p:nvSpPr>
          <p:spPr>
            <a:xfrm>
              <a:off x="2000681" y="2370911"/>
              <a:ext cx="2243519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dirty="0"/>
                <a:t>Significant difference in message performance between groups</a:t>
              </a:r>
              <a:endParaRPr lang="en-US" sz="1200" dirty="0">
                <a:solidFill>
                  <a:srgbClr val="404040"/>
                </a:solidFill>
                <a:cs typeface="Calibri Light" panose="020F0302020204030204" pitchFamily="34" charset="0"/>
              </a:endParaRPr>
            </a:p>
          </p:txBody>
        </p:sp>
      </p:grpSp>
      <p:grpSp>
        <p:nvGrpSpPr>
          <p:cNvPr id="99" name="Groep 98">
            <a:extLst>
              <a:ext uri="{FF2B5EF4-FFF2-40B4-BE49-F238E27FC236}">
                <a16:creationId xmlns:a16="http://schemas.microsoft.com/office/drawing/2014/main" id="{77FE9D9B-B15E-4F3D-9840-BDACAEC8C1EB}"/>
              </a:ext>
            </a:extLst>
          </p:cNvPr>
          <p:cNvGrpSpPr/>
          <p:nvPr/>
        </p:nvGrpSpPr>
        <p:grpSpPr>
          <a:xfrm>
            <a:off x="2190793" y="4512264"/>
            <a:ext cx="2320247" cy="661416"/>
            <a:chOff x="2000681" y="2086778"/>
            <a:chExt cx="2320247" cy="661416"/>
          </a:xfrm>
        </p:grpSpPr>
        <p:sp>
          <p:nvSpPr>
            <p:cNvPr id="100" name="TextBox 51">
              <a:extLst>
                <a:ext uri="{FF2B5EF4-FFF2-40B4-BE49-F238E27FC236}">
                  <a16:creationId xmlns:a16="http://schemas.microsoft.com/office/drawing/2014/main" id="{5C9F2F1E-772D-4E5E-B418-3EB051B489D5}"/>
                </a:ext>
              </a:extLst>
            </p:cNvPr>
            <p:cNvSpPr txBox="1"/>
            <p:nvPr/>
          </p:nvSpPr>
          <p:spPr>
            <a:xfrm>
              <a:off x="2000681" y="2086778"/>
              <a:ext cx="119327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404040"/>
                  </a:solidFill>
                </a:rPr>
                <a:t>Health behavior</a:t>
              </a:r>
            </a:p>
          </p:txBody>
        </p:sp>
        <p:sp>
          <p:nvSpPr>
            <p:cNvPr id="106" name="TextBox 52">
              <a:extLst>
                <a:ext uri="{FF2B5EF4-FFF2-40B4-BE49-F238E27FC236}">
                  <a16:creationId xmlns:a16="http://schemas.microsoft.com/office/drawing/2014/main" id="{0F5AF06B-AE1A-4766-A35D-DE3E48BFF32E}"/>
                </a:ext>
              </a:extLst>
            </p:cNvPr>
            <p:cNvSpPr txBox="1"/>
            <p:nvPr/>
          </p:nvSpPr>
          <p:spPr>
            <a:xfrm>
              <a:off x="2000681" y="2370911"/>
              <a:ext cx="2320247" cy="3772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US" sz="1200" dirty="0">
                  <a:solidFill>
                    <a:srgbClr val="404040"/>
                  </a:solidFill>
                  <a:cs typeface="Calibri Light" panose="020F0302020204030204" pitchFamily="34" charset="0"/>
                </a:rPr>
                <a:t>No significant difference in performed activities between groups</a:t>
              </a:r>
            </a:p>
          </p:txBody>
        </p:sp>
      </p:grpSp>
      <p:grpSp>
        <p:nvGrpSpPr>
          <p:cNvPr id="83" name="Group 10">
            <a:extLst>
              <a:ext uri="{FF2B5EF4-FFF2-40B4-BE49-F238E27FC236}">
                <a16:creationId xmlns:a16="http://schemas.microsoft.com/office/drawing/2014/main" id="{62304503-E005-4501-86EF-E88B9BC391E4}"/>
              </a:ext>
            </a:extLst>
          </p:cNvPr>
          <p:cNvGrpSpPr/>
          <p:nvPr/>
        </p:nvGrpSpPr>
        <p:grpSpPr>
          <a:xfrm>
            <a:off x="1109204" y="2038727"/>
            <a:ext cx="811103" cy="801212"/>
            <a:chOff x="4279221" y="2033354"/>
            <a:chExt cx="1412875" cy="1395646"/>
          </a:xfrm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2FB1F421-4937-49CE-9ED3-5A9CB4C2B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230EFE1E-3EEC-427B-AD2E-E490B69A9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FD757A30-C0F0-494D-9B62-4E376243E9A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74"/>
          <a:stretch/>
        </p:blipFill>
        <p:spPr>
          <a:xfrm>
            <a:off x="6076554" y="4262231"/>
            <a:ext cx="4029611" cy="1739104"/>
          </a:xfrm>
          <a:prstGeom prst="rect">
            <a:avLst/>
          </a:prstGeom>
        </p:spPr>
      </p:pic>
      <p:grpSp>
        <p:nvGrpSpPr>
          <p:cNvPr id="86" name="Group 10">
            <a:extLst>
              <a:ext uri="{FF2B5EF4-FFF2-40B4-BE49-F238E27FC236}">
                <a16:creationId xmlns:a16="http://schemas.microsoft.com/office/drawing/2014/main" id="{E34556A2-7C05-49C8-9F8C-E1E8EDAEB5ED}"/>
              </a:ext>
            </a:extLst>
          </p:cNvPr>
          <p:cNvGrpSpPr/>
          <p:nvPr/>
        </p:nvGrpSpPr>
        <p:grpSpPr>
          <a:xfrm>
            <a:off x="1109204" y="3240975"/>
            <a:ext cx="811103" cy="801212"/>
            <a:chOff x="4279221" y="2033354"/>
            <a:chExt cx="1412875" cy="1395646"/>
          </a:xfrm>
        </p:grpSpPr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66CC504F-371E-4904-A84F-E6770B667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AE7B873E-C567-45D6-8BFC-5C08CCD32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C8F9C160-BD60-4E01-85FF-95BE97EE61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553" y="1319381"/>
            <a:ext cx="4029611" cy="2302635"/>
          </a:xfrm>
          <a:prstGeom prst="rect">
            <a:avLst/>
          </a:prstGeom>
        </p:spPr>
      </p:pic>
      <p:grpSp>
        <p:nvGrpSpPr>
          <p:cNvPr id="89" name="Group 10">
            <a:extLst>
              <a:ext uri="{FF2B5EF4-FFF2-40B4-BE49-F238E27FC236}">
                <a16:creationId xmlns:a16="http://schemas.microsoft.com/office/drawing/2014/main" id="{5B099AA7-5B72-4A0A-81A3-3C905C656DDE}"/>
              </a:ext>
            </a:extLst>
          </p:cNvPr>
          <p:cNvGrpSpPr/>
          <p:nvPr/>
        </p:nvGrpSpPr>
        <p:grpSpPr>
          <a:xfrm>
            <a:off x="1109204" y="4446085"/>
            <a:ext cx="811103" cy="801212"/>
            <a:chOff x="4279221" y="2033354"/>
            <a:chExt cx="1412875" cy="1395646"/>
          </a:xfrm>
        </p:grpSpPr>
        <p:sp>
          <p:nvSpPr>
            <p:cNvPr id="90" name="Freeform 5">
              <a:extLst>
                <a:ext uri="{FF2B5EF4-FFF2-40B4-BE49-F238E27FC236}">
                  <a16:creationId xmlns:a16="http://schemas.microsoft.com/office/drawing/2014/main" id="{A0FDF9B4-21DF-4056-BF1A-491D8E755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">
              <a:extLst>
                <a:ext uri="{FF2B5EF4-FFF2-40B4-BE49-F238E27FC236}">
                  <a16:creationId xmlns:a16="http://schemas.microsoft.com/office/drawing/2014/main" id="{A275B892-7C7B-4221-A415-8B7491633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2" name="Tekstvak 11">
            <a:extLst>
              <a:ext uri="{FF2B5EF4-FFF2-40B4-BE49-F238E27FC236}">
                <a16:creationId xmlns:a16="http://schemas.microsoft.com/office/drawing/2014/main" id="{FE1C3D7B-E594-461D-ABD6-32AE4808B408}"/>
              </a:ext>
            </a:extLst>
          </p:cNvPr>
          <p:cNvSpPr txBox="1"/>
          <p:nvPr/>
        </p:nvSpPr>
        <p:spPr>
          <a:xfrm>
            <a:off x="7439966" y="3495159"/>
            <a:ext cx="651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rgbClr val="818181"/>
                </a:solidFill>
              </a:rPr>
              <a:t>Week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924BF7AD-AF83-4A98-8485-AA0843BED321}"/>
              </a:ext>
            </a:extLst>
          </p:cNvPr>
          <p:cNvSpPr txBox="1"/>
          <p:nvPr/>
        </p:nvSpPr>
        <p:spPr>
          <a:xfrm>
            <a:off x="7439966" y="5835341"/>
            <a:ext cx="651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rgbClr val="818181"/>
                </a:solidFill>
              </a:rPr>
              <a:t>Week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50" name="Tekstvak 49">
            <a:extLst>
              <a:ext uri="{FF2B5EF4-FFF2-40B4-BE49-F238E27FC236}">
                <a16:creationId xmlns:a16="http://schemas.microsoft.com/office/drawing/2014/main" id="{28FF04D4-749E-475F-B494-27A78F0DC2CD}"/>
              </a:ext>
            </a:extLst>
          </p:cNvPr>
          <p:cNvSpPr txBox="1"/>
          <p:nvPr/>
        </p:nvSpPr>
        <p:spPr>
          <a:xfrm rot="16200000">
            <a:off x="4825137" y="2146141"/>
            <a:ext cx="1892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rgbClr val="818181"/>
                </a:solidFill>
              </a:rPr>
              <a:t>Message feedback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51" name="Tekstvak 50">
            <a:extLst>
              <a:ext uri="{FF2B5EF4-FFF2-40B4-BE49-F238E27FC236}">
                <a16:creationId xmlns:a16="http://schemas.microsoft.com/office/drawing/2014/main" id="{B85E6F2C-006B-47C4-B883-B774F125BAF1}"/>
              </a:ext>
            </a:extLst>
          </p:cNvPr>
          <p:cNvSpPr txBox="1"/>
          <p:nvPr/>
        </p:nvSpPr>
        <p:spPr>
          <a:xfrm rot="16200000">
            <a:off x="4939014" y="4849280"/>
            <a:ext cx="1664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 err="1">
                <a:solidFill>
                  <a:srgbClr val="818181"/>
                </a:solidFill>
              </a:rPr>
              <a:t>Performed</a:t>
            </a:r>
            <a:r>
              <a:rPr lang="nl-NL" sz="1400" dirty="0">
                <a:solidFill>
                  <a:srgbClr val="818181"/>
                </a:solidFill>
              </a:rPr>
              <a:t> </a:t>
            </a:r>
            <a:r>
              <a:rPr lang="nl-NL" sz="1400" dirty="0" err="1">
                <a:solidFill>
                  <a:srgbClr val="818181"/>
                </a:solidFill>
              </a:rPr>
              <a:t>activities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B653D48B-03BD-46F5-B3E7-0C066428C3F4}"/>
              </a:ext>
            </a:extLst>
          </p:cNvPr>
          <p:cNvSpPr txBox="1"/>
          <p:nvPr/>
        </p:nvSpPr>
        <p:spPr>
          <a:xfrm>
            <a:off x="6593310" y="1066429"/>
            <a:ext cx="2344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>
                <a:solidFill>
                  <a:srgbClr val="818181"/>
                </a:solidFill>
              </a:rPr>
              <a:t>Message Feedback</a:t>
            </a:r>
            <a:endParaRPr lang="en-NL" b="1" dirty="0">
              <a:solidFill>
                <a:srgbClr val="818181"/>
              </a:solidFill>
            </a:endParaRPr>
          </a:p>
        </p:txBody>
      </p:sp>
      <p:sp>
        <p:nvSpPr>
          <p:cNvPr id="53" name="Tekstvak 52">
            <a:extLst>
              <a:ext uri="{FF2B5EF4-FFF2-40B4-BE49-F238E27FC236}">
                <a16:creationId xmlns:a16="http://schemas.microsoft.com/office/drawing/2014/main" id="{DF870A39-7FCA-4F12-9CCD-372C65E83B7F}"/>
              </a:ext>
            </a:extLst>
          </p:cNvPr>
          <p:cNvSpPr txBox="1"/>
          <p:nvPr/>
        </p:nvSpPr>
        <p:spPr>
          <a:xfrm>
            <a:off x="6906878" y="3919922"/>
            <a:ext cx="1717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>
                <a:solidFill>
                  <a:srgbClr val="818181"/>
                </a:solidFill>
              </a:rPr>
              <a:t>Health Behavior</a:t>
            </a:r>
            <a:endParaRPr lang="en-NL" b="1" dirty="0">
              <a:solidFill>
                <a:srgbClr val="818181"/>
              </a:solidFill>
            </a:endParaRPr>
          </a:p>
        </p:txBody>
      </p:sp>
      <p:sp>
        <p:nvSpPr>
          <p:cNvPr id="59" name="Rechthoek 58">
            <a:extLst>
              <a:ext uri="{FF2B5EF4-FFF2-40B4-BE49-F238E27FC236}">
                <a16:creationId xmlns:a16="http://schemas.microsoft.com/office/drawing/2014/main" id="{734B1870-C63F-4253-9614-42C08C1BC070}"/>
              </a:ext>
            </a:extLst>
          </p:cNvPr>
          <p:cNvSpPr>
            <a:spLocks noChangeAspect="1"/>
          </p:cNvSpPr>
          <p:nvPr/>
        </p:nvSpPr>
        <p:spPr>
          <a:xfrm>
            <a:off x="1365898" y="3472404"/>
            <a:ext cx="338355" cy="338355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0" name="Rechthoek 59">
            <a:extLst>
              <a:ext uri="{FF2B5EF4-FFF2-40B4-BE49-F238E27FC236}">
                <a16:creationId xmlns:a16="http://schemas.microsoft.com/office/drawing/2014/main" id="{42EB531C-4F19-4402-9F80-6E892FAE4D4B}"/>
              </a:ext>
            </a:extLst>
          </p:cNvPr>
          <p:cNvSpPr>
            <a:spLocks noChangeAspect="1"/>
          </p:cNvSpPr>
          <p:nvPr/>
        </p:nvSpPr>
        <p:spPr>
          <a:xfrm>
            <a:off x="1365898" y="2270156"/>
            <a:ext cx="338355" cy="338355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61" name="Rechthoek 60">
            <a:extLst>
              <a:ext uri="{FF2B5EF4-FFF2-40B4-BE49-F238E27FC236}">
                <a16:creationId xmlns:a16="http://schemas.microsoft.com/office/drawing/2014/main" id="{B694CB9D-7DD3-4D1E-9241-AB6DFB69D69E}"/>
              </a:ext>
            </a:extLst>
          </p:cNvPr>
          <p:cNvSpPr>
            <a:spLocks noChangeAspect="1"/>
          </p:cNvSpPr>
          <p:nvPr/>
        </p:nvSpPr>
        <p:spPr>
          <a:xfrm>
            <a:off x="1365898" y="4671941"/>
            <a:ext cx="338355" cy="338355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66148906"/>
      </p:ext>
    </p:extLst>
  </p:cSld>
  <p:clrMapOvr>
    <a:masterClrMapping/>
  </p:clrMapOvr>
  <p:transition spd="med">
    <p:push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Vrije vorm: vorm 42">
            <a:extLst>
              <a:ext uri="{FF2B5EF4-FFF2-40B4-BE49-F238E27FC236}">
                <a16:creationId xmlns:a16="http://schemas.microsoft.com/office/drawing/2014/main" id="{D3D22680-19C0-41D8-9C1F-E99E5C5F83FC}"/>
              </a:ext>
            </a:extLst>
          </p:cNvPr>
          <p:cNvSpPr/>
          <p:nvPr/>
        </p:nvSpPr>
        <p:spPr>
          <a:xfrm>
            <a:off x="6412593" y="-1699"/>
            <a:ext cx="5783492" cy="6858000"/>
          </a:xfrm>
          <a:custGeom>
            <a:avLst/>
            <a:gdLst>
              <a:gd name="connsiteX0" fmla="*/ 1409458 w 6471519"/>
              <a:gd name="connsiteY0" fmla="*/ 0 h 6858000"/>
              <a:gd name="connsiteX1" fmla="*/ 2709146 w 6471519"/>
              <a:gd name="connsiteY1" fmla="*/ 0 h 6858000"/>
              <a:gd name="connsiteX2" fmla="*/ 6471519 w 6471519"/>
              <a:gd name="connsiteY2" fmla="*/ 0 h 6858000"/>
              <a:gd name="connsiteX3" fmla="*/ 6471519 w 6471519"/>
              <a:gd name="connsiteY3" fmla="*/ 6858000 h 6858000"/>
              <a:gd name="connsiteX4" fmla="*/ 2709146 w 6471519"/>
              <a:gd name="connsiteY4" fmla="*/ 6858000 h 6858000"/>
              <a:gd name="connsiteX5" fmla="*/ 2405 w 6471519"/>
              <a:gd name="connsiteY5" fmla="*/ 6858000 h 6858000"/>
              <a:gd name="connsiteX6" fmla="*/ 1155171 w 6471519"/>
              <a:gd name="connsiteY6" fmla="*/ 2737049 h 6858000"/>
              <a:gd name="connsiteX7" fmla="*/ 1409458 w 647151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71519" h="6858000">
                <a:moveTo>
                  <a:pt x="1409458" y="0"/>
                </a:moveTo>
                <a:lnTo>
                  <a:pt x="2709146" y="0"/>
                </a:lnTo>
                <a:lnTo>
                  <a:pt x="6471519" y="0"/>
                </a:lnTo>
                <a:lnTo>
                  <a:pt x="6471519" y="6858000"/>
                </a:lnTo>
                <a:lnTo>
                  <a:pt x="2709146" y="6858000"/>
                </a:lnTo>
                <a:cubicBezTo>
                  <a:pt x="2709146" y="6858000"/>
                  <a:pt x="2709146" y="6858000"/>
                  <a:pt x="2405" y="6858000"/>
                </a:cubicBezTo>
                <a:cubicBezTo>
                  <a:pt x="-44214" y="4485598"/>
                  <a:pt x="595741" y="4489991"/>
                  <a:pt x="1155171" y="2737049"/>
                </a:cubicBezTo>
                <a:cubicBezTo>
                  <a:pt x="1716015" y="988501"/>
                  <a:pt x="1409458" y="0"/>
                  <a:pt x="1409458" y="0"/>
                </a:cubicBez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0" name="Freeform 5">
            <a:extLst>
              <a:ext uri="{FF2B5EF4-FFF2-40B4-BE49-F238E27FC236}">
                <a16:creationId xmlns:a16="http://schemas.microsoft.com/office/drawing/2014/main" id="{410122C6-7B6A-4AF9-A09E-14A1E4755CC1}"/>
              </a:ext>
            </a:extLst>
          </p:cNvPr>
          <p:cNvSpPr>
            <a:spLocks/>
          </p:cNvSpPr>
          <p:nvPr/>
        </p:nvSpPr>
        <p:spPr bwMode="auto">
          <a:xfrm rot="5929019">
            <a:off x="5490128" y="548207"/>
            <a:ext cx="489857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5">
            <a:extLst>
              <a:ext uri="{FF2B5EF4-FFF2-40B4-BE49-F238E27FC236}">
                <a16:creationId xmlns:a16="http://schemas.microsoft.com/office/drawing/2014/main" id="{5382D1B3-6D1B-4567-B073-B5A8FE4FCB14}"/>
              </a:ext>
            </a:extLst>
          </p:cNvPr>
          <p:cNvSpPr>
            <a:spLocks/>
          </p:cNvSpPr>
          <p:nvPr/>
        </p:nvSpPr>
        <p:spPr bwMode="auto">
          <a:xfrm rot="6289252">
            <a:off x="4725933" y="121583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70586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nclus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What does this all mean?</a:t>
            </a:r>
          </a:p>
        </p:txBody>
      </p:sp>
      <p:grpSp>
        <p:nvGrpSpPr>
          <p:cNvPr id="76" name="Group 150">
            <a:extLst>
              <a:ext uri="{FF2B5EF4-FFF2-40B4-BE49-F238E27FC236}">
                <a16:creationId xmlns:a16="http://schemas.microsoft.com/office/drawing/2014/main" id="{147E9F4D-5C09-4F65-923A-A47BBBD5C47E}"/>
              </a:ext>
            </a:extLst>
          </p:cNvPr>
          <p:cNvGrpSpPr/>
          <p:nvPr/>
        </p:nvGrpSpPr>
        <p:grpSpPr>
          <a:xfrm>
            <a:off x="1189578" y="1787737"/>
            <a:ext cx="3625490" cy="977028"/>
            <a:chOff x="536073" y="1417956"/>
            <a:chExt cx="3625490" cy="977028"/>
          </a:xfrm>
        </p:grpSpPr>
        <p:sp>
          <p:nvSpPr>
            <p:cNvPr id="102" name="Oval 138">
              <a:extLst>
                <a:ext uri="{FF2B5EF4-FFF2-40B4-BE49-F238E27FC236}">
                  <a16:creationId xmlns:a16="http://schemas.microsoft.com/office/drawing/2014/main" id="{A1B52FB9-738B-45E4-A513-C8F8204B749D}"/>
                </a:ext>
              </a:extLst>
            </p:cNvPr>
            <p:cNvSpPr/>
            <p:nvPr/>
          </p:nvSpPr>
          <p:spPr>
            <a:xfrm>
              <a:off x="706861" y="1417956"/>
              <a:ext cx="977030" cy="977028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3" name="TextBox 139">
              <a:extLst>
                <a:ext uri="{FF2B5EF4-FFF2-40B4-BE49-F238E27FC236}">
                  <a16:creationId xmlns:a16="http://schemas.microsoft.com/office/drawing/2014/main" id="{896EC609-04A5-4F60-8788-A73B39976D60}"/>
                </a:ext>
              </a:extLst>
            </p:cNvPr>
            <p:cNvSpPr txBox="1"/>
            <p:nvPr/>
          </p:nvSpPr>
          <p:spPr>
            <a:xfrm>
              <a:off x="536073" y="1583305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104" name="TextBox 34">
              <a:extLst>
                <a:ext uri="{FF2B5EF4-FFF2-40B4-BE49-F238E27FC236}">
                  <a16:creationId xmlns:a16="http://schemas.microsoft.com/office/drawing/2014/main" id="{2EE17383-07B5-4042-A5C2-87DC2CCCD4B9}"/>
                </a:ext>
              </a:extLst>
            </p:cNvPr>
            <p:cNvSpPr txBox="1"/>
            <p:nvPr/>
          </p:nvSpPr>
          <p:spPr>
            <a:xfrm>
              <a:off x="1360875" y="1583305"/>
              <a:ext cx="2800688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aptive messages increase message feedback, but do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t necessarily lead to behavioral change</a:t>
              </a:r>
            </a:p>
          </p:txBody>
        </p:sp>
      </p:grpSp>
      <p:grpSp>
        <p:nvGrpSpPr>
          <p:cNvPr id="78" name="Group 149">
            <a:extLst>
              <a:ext uri="{FF2B5EF4-FFF2-40B4-BE49-F238E27FC236}">
                <a16:creationId xmlns:a16="http://schemas.microsoft.com/office/drawing/2014/main" id="{4ACFDA9E-24D1-4E65-83D1-C5C90CB9CE81}"/>
              </a:ext>
            </a:extLst>
          </p:cNvPr>
          <p:cNvGrpSpPr/>
          <p:nvPr/>
        </p:nvGrpSpPr>
        <p:grpSpPr>
          <a:xfrm>
            <a:off x="1191528" y="3281878"/>
            <a:ext cx="3187118" cy="977028"/>
            <a:chOff x="3999388" y="1457545"/>
            <a:chExt cx="3187118" cy="977028"/>
          </a:xfrm>
        </p:grpSpPr>
        <p:sp>
          <p:nvSpPr>
            <p:cNvPr id="92" name="Oval 140">
              <a:extLst>
                <a:ext uri="{FF2B5EF4-FFF2-40B4-BE49-F238E27FC236}">
                  <a16:creationId xmlns:a16="http://schemas.microsoft.com/office/drawing/2014/main" id="{AD5955C4-5E24-4AB0-B3F4-FCC21AF35A61}"/>
                </a:ext>
              </a:extLst>
            </p:cNvPr>
            <p:cNvSpPr/>
            <p:nvPr/>
          </p:nvSpPr>
          <p:spPr>
            <a:xfrm>
              <a:off x="4170176" y="1457545"/>
              <a:ext cx="977030" cy="977028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95" name="TextBox 135">
              <a:extLst>
                <a:ext uri="{FF2B5EF4-FFF2-40B4-BE49-F238E27FC236}">
                  <a16:creationId xmlns:a16="http://schemas.microsoft.com/office/drawing/2014/main" id="{9F0058E6-3A6C-4B23-8E76-ED8036BDFE43}"/>
                </a:ext>
              </a:extLst>
            </p:cNvPr>
            <p:cNvSpPr txBox="1"/>
            <p:nvPr/>
          </p:nvSpPr>
          <p:spPr>
            <a:xfrm>
              <a:off x="4824190" y="1622894"/>
              <a:ext cx="2362316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rsuasion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mall part of bigger puzzl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of how to support</a:t>
              </a:r>
            </a:p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ange in health behavior</a:t>
              </a:r>
            </a:p>
          </p:txBody>
        </p:sp>
        <p:sp>
          <p:nvSpPr>
            <p:cNvPr id="101" name="TextBox 141">
              <a:extLst>
                <a:ext uri="{FF2B5EF4-FFF2-40B4-BE49-F238E27FC236}">
                  <a16:creationId xmlns:a16="http://schemas.microsoft.com/office/drawing/2014/main" id="{050AB505-03D6-46D3-BA60-B2AD941802B5}"/>
                </a:ext>
              </a:extLst>
            </p:cNvPr>
            <p:cNvSpPr txBox="1"/>
            <p:nvPr/>
          </p:nvSpPr>
          <p:spPr>
            <a:xfrm>
              <a:off x="3999388" y="1622894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</p:grpSp>
      <p:grpSp>
        <p:nvGrpSpPr>
          <p:cNvPr id="79" name="Group 148">
            <a:extLst>
              <a:ext uri="{FF2B5EF4-FFF2-40B4-BE49-F238E27FC236}">
                <a16:creationId xmlns:a16="http://schemas.microsoft.com/office/drawing/2014/main" id="{60770589-23CD-4BE3-91DF-79A4669BFD65}"/>
              </a:ext>
            </a:extLst>
          </p:cNvPr>
          <p:cNvGrpSpPr/>
          <p:nvPr/>
        </p:nvGrpSpPr>
        <p:grpSpPr>
          <a:xfrm>
            <a:off x="1193668" y="4776019"/>
            <a:ext cx="3187118" cy="977028"/>
            <a:chOff x="7892821" y="1496849"/>
            <a:chExt cx="3187118" cy="977028"/>
          </a:xfrm>
        </p:grpSpPr>
        <p:sp>
          <p:nvSpPr>
            <p:cNvPr id="80" name="Oval 142">
              <a:extLst>
                <a:ext uri="{FF2B5EF4-FFF2-40B4-BE49-F238E27FC236}">
                  <a16:creationId xmlns:a16="http://schemas.microsoft.com/office/drawing/2014/main" id="{5A460CDB-DF1C-4D8B-BC46-4CE2B38A5493}"/>
                </a:ext>
              </a:extLst>
            </p:cNvPr>
            <p:cNvSpPr/>
            <p:nvPr/>
          </p:nvSpPr>
          <p:spPr>
            <a:xfrm>
              <a:off x="8063609" y="1496849"/>
              <a:ext cx="977030" cy="977028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81" name="TextBox 136">
              <a:extLst>
                <a:ext uri="{FF2B5EF4-FFF2-40B4-BE49-F238E27FC236}">
                  <a16:creationId xmlns:a16="http://schemas.microsoft.com/office/drawing/2014/main" id="{57054E7A-DF7C-476E-8F34-585F911BCC13}"/>
                </a:ext>
              </a:extLst>
            </p:cNvPr>
            <p:cNvSpPr txBox="1"/>
            <p:nvPr/>
          </p:nvSpPr>
          <p:spPr>
            <a:xfrm>
              <a:off x="8717623" y="1662198"/>
              <a:ext cx="2362316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rsuasion may generate Motivation, but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 Capability and/or Opportunity</a:t>
              </a:r>
            </a:p>
          </p:txBody>
        </p:sp>
        <p:sp>
          <p:nvSpPr>
            <p:cNvPr id="82" name="TextBox 143">
              <a:extLst>
                <a:ext uri="{FF2B5EF4-FFF2-40B4-BE49-F238E27FC236}">
                  <a16:creationId xmlns:a16="http://schemas.microsoft.com/office/drawing/2014/main" id="{DA826A65-F9D5-40DA-9AD3-06D3994DE4BE}"/>
                </a:ext>
              </a:extLst>
            </p:cNvPr>
            <p:cNvSpPr txBox="1"/>
            <p:nvPr/>
          </p:nvSpPr>
          <p:spPr>
            <a:xfrm>
              <a:off x="7892821" y="1662198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</p:grpSp>
      <p:grpSp>
        <p:nvGrpSpPr>
          <p:cNvPr id="13" name="Groep 12">
            <a:extLst>
              <a:ext uri="{FF2B5EF4-FFF2-40B4-BE49-F238E27FC236}">
                <a16:creationId xmlns:a16="http://schemas.microsoft.com/office/drawing/2014/main" id="{1BB519FC-E9BB-4C2D-864B-24998CF65776}"/>
              </a:ext>
            </a:extLst>
          </p:cNvPr>
          <p:cNvGrpSpPr/>
          <p:nvPr/>
        </p:nvGrpSpPr>
        <p:grpSpPr>
          <a:xfrm>
            <a:off x="7336397" y="3766212"/>
            <a:ext cx="4354827" cy="2275599"/>
            <a:chOff x="7339641" y="3982771"/>
            <a:chExt cx="4354827" cy="2275599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6E8ED668-2236-4E37-B978-E14B3DD4862E}"/>
                </a:ext>
              </a:extLst>
            </p:cNvPr>
            <p:cNvGrpSpPr/>
            <p:nvPr/>
          </p:nvGrpSpPr>
          <p:grpSpPr>
            <a:xfrm>
              <a:off x="8755699" y="4063475"/>
              <a:ext cx="548640" cy="371856"/>
              <a:chOff x="8631936" y="3565643"/>
              <a:chExt cx="548640" cy="371856"/>
            </a:xfrm>
          </p:grpSpPr>
          <p:sp>
            <p:nvSpPr>
              <p:cNvPr id="7" name="Tekstballon: rechthoek met afgeronde hoeken 6">
                <a:extLst>
                  <a:ext uri="{FF2B5EF4-FFF2-40B4-BE49-F238E27FC236}">
                    <a16:creationId xmlns:a16="http://schemas.microsoft.com/office/drawing/2014/main" id="{8DAA20CC-C4EB-4210-AACD-8A9B8505D40B}"/>
                  </a:ext>
                </a:extLst>
              </p:cNvPr>
              <p:cNvSpPr/>
              <p:nvPr/>
            </p:nvSpPr>
            <p:spPr>
              <a:xfrm>
                <a:off x="8631936" y="3565643"/>
                <a:ext cx="548640" cy="371856"/>
              </a:xfrm>
              <a:prstGeom prst="wedgeRoundRectCallout">
                <a:avLst>
                  <a:gd name="adj1" fmla="val -18611"/>
                  <a:gd name="adj2" fmla="val 72336"/>
                  <a:gd name="adj3" fmla="val 16667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sp>
            <p:nvSpPr>
              <p:cNvPr id="8" name="Hart 7">
                <a:extLst>
                  <a:ext uri="{FF2B5EF4-FFF2-40B4-BE49-F238E27FC236}">
                    <a16:creationId xmlns:a16="http://schemas.microsoft.com/office/drawing/2014/main" id="{59B081CF-2788-4C84-B932-04A12798AA48}"/>
                  </a:ext>
                </a:extLst>
              </p:cNvPr>
              <p:cNvSpPr/>
              <p:nvPr/>
            </p:nvSpPr>
            <p:spPr>
              <a:xfrm>
                <a:off x="8791702" y="3647177"/>
                <a:ext cx="221018" cy="221018"/>
              </a:xfrm>
              <a:prstGeom prst="heart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 dirty="0"/>
              </a:p>
            </p:txBody>
          </p:sp>
        </p:grpSp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083882CF-69BC-4305-BE2E-4E400B5002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339641" y="3982771"/>
              <a:ext cx="4354827" cy="22755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428177"/>
      </p:ext>
    </p:extLst>
  </p:cSld>
  <p:clrMapOvr>
    <a:masterClrMapping/>
  </p:clrMapOvr>
  <p:transition spd="med">
    <p:push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ep 15">
            <a:extLst>
              <a:ext uri="{FF2B5EF4-FFF2-40B4-BE49-F238E27FC236}">
                <a16:creationId xmlns:a16="http://schemas.microsoft.com/office/drawing/2014/main" id="{C9FC255E-FFC9-4358-B6DF-7D11F9C64686}"/>
              </a:ext>
            </a:extLst>
          </p:cNvPr>
          <p:cNvGrpSpPr/>
          <p:nvPr/>
        </p:nvGrpSpPr>
        <p:grpSpPr>
          <a:xfrm>
            <a:off x="6811228" y="2129379"/>
            <a:ext cx="852639" cy="3179440"/>
            <a:chOff x="6811228" y="2129379"/>
            <a:chExt cx="852639" cy="3179440"/>
          </a:xfrm>
        </p:grpSpPr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70CBB86E-EC7C-410C-99CA-7E867C6049B7}"/>
                </a:ext>
              </a:extLst>
            </p:cNvPr>
            <p:cNvGrpSpPr/>
            <p:nvPr/>
          </p:nvGrpSpPr>
          <p:grpSpPr>
            <a:xfrm>
              <a:off x="6811750" y="4456702"/>
              <a:ext cx="852117" cy="852117"/>
              <a:chOff x="6811750" y="4456702"/>
              <a:chExt cx="852117" cy="852117"/>
            </a:xfrm>
          </p:grpSpPr>
          <p:sp>
            <p:nvSpPr>
              <p:cNvPr id="68" name="Oval 56">
                <a:extLst>
                  <a:ext uri="{FF2B5EF4-FFF2-40B4-BE49-F238E27FC236}">
                    <a16:creationId xmlns:a16="http://schemas.microsoft.com/office/drawing/2014/main" id="{70CC6E8C-D3D7-4255-9C2C-7C7D34D49A42}"/>
                  </a:ext>
                </a:extLst>
              </p:cNvPr>
              <p:cNvSpPr/>
              <p:nvPr/>
            </p:nvSpPr>
            <p:spPr>
              <a:xfrm>
                <a:off x="6811750" y="4456702"/>
                <a:ext cx="852117" cy="852117"/>
              </a:xfrm>
              <a:prstGeom prst="ellipse">
                <a:avLst/>
              </a:prstGeom>
              <a:solidFill>
                <a:srgbClr val="5A56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" name="Afbeelding 2">
                <a:extLst>
                  <a:ext uri="{FF2B5EF4-FFF2-40B4-BE49-F238E27FC236}">
                    <a16:creationId xmlns:a16="http://schemas.microsoft.com/office/drawing/2014/main" id="{9EFBA10E-0B2D-4B60-880A-750146D204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42678" y="4535829"/>
                <a:ext cx="709144" cy="709144"/>
              </a:xfrm>
              <a:prstGeom prst="rect">
                <a:avLst/>
              </a:prstGeom>
            </p:spPr>
          </p:pic>
        </p:grp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B6C0F48A-6416-4747-A453-CE4A3F0AEE62}"/>
                </a:ext>
              </a:extLst>
            </p:cNvPr>
            <p:cNvGrpSpPr/>
            <p:nvPr/>
          </p:nvGrpSpPr>
          <p:grpSpPr>
            <a:xfrm>
              <a:off x="6811749" y="2129379"/>
              <a:ext cx="852117" cy="852117"/>
              <a:chOff x="6811749" y="2129379"/>
              <a:chExt cx="852117" cy="852117"/>
            </a:xfrm>
          </p:grpSpPr>
          <p:sp>
            <p:nvSpPr>
              <p:cNvPr id="58" name="Oval 2">
                <a:extLst>
                  <a:ext uri="{FF2B5EF4-FFF2-40B4-BE49-F238E27FC236}">
                    <a16:creationId xmlns:a16="http://schemas.microsoft.com/office/drawing/2014/main" id="{9A9FC332-E47C-4E06-846D-65CB68DE4809}"/>
                  </a:ext>
                </a:extLst>
              </p:cNvPr>
              <p:cNvSpPr/>
              <p:nvPr/>
            </p:nvSpPr>
            <p:spPr>
              <a:xfrm>
                <a:off x="6811749" y="2129379"/>
                <a:ext cx="852117" cy="852117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0" name="Afbeelding 9">
                <a:extLst>
                  <a:ext uri="{FF2B5EF4-FFF2-40B4-BE49-F238E27FC236}">
                    <a16:creationId xmlns:a16="http://schemas.microsoft.com/office/drawing/2014/main" id="{CFE373A9-1050-49FF-A12C-34E38A585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7790" y="2200979"/>
                <a:ext cx="709144" cy="709144"/>
              </a:xfrm>
              <a:prstGeom prst="rect">
                <a:avLst/>
              </a:prstGeom>
            </p:spPr>
          </p:pic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E4619124-1B63-4ACE-90B2-1112E6F30D5E}"/>
                </a:ext>
              </a:extLst>
            </p:cNvPr>
            <p:cNvGrpSpPr/>
            <p:nvPr/>
          </p:nvGrpSpPr>
          <p:grpSpPr>
            <a:xfrm>
              <a:off x="6811228" y="3293041"/>
              <a:ext cx="852117" cy="852117"/>
              <a:chOff x="6811228" y="3293041"/>
              <a:chExt cx="852117" cy="852117"/>
            </a:xfrm>
          </p:grpSpPr>
          <p:sp>
            <p:nvSpPr>
              <p:cNvPr id="66" name="Oval 55">
                <a:extLst>
                  <a:ext uri="{FF2B5EF4-FFF2-40B4-BE49-F238E27FC236}">
                    <a16:creationId xmlns:a16="http://schemas.microsoft.com/office/drawing/2014/main" id="{97EB8A76-0F4C-40A0-8B28-E87B43574A90}"/>
                  </a:ext>
                </a:extLst>
              </p:cNvPr>
              <p:cNvSpPr/>
              <p:nvPr/>
            </p:nvSpPr>
            <p:spPr>
              <a:xfrm>
                <a:off x="6811228" y="3293041"/>
                <a:ext cx="852117" cy="852117"/>
              </a:xfrm>
              <a:prstGeom prst="ellipse">
                <a:avLst/>
              </a:prstGeom>
              <a:solidFill>
                <a:srgbClr val="ED777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2" name="Afbeelding 11">
                <a:extLst>
                  <a:ext uri="{FF2B5EF4-FFF2-40B4-BE49-F238E27FC236}">
                    <a16:creationId xmlns:a16="http://schemas.microsoft.com/office/drawing/2014/main" id="{D332B5E3-F91F-4DE8-AEAB-FF62A9FCCC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51375" y="3357990"/>
                <a:ext cx="756581" cy="756581"/>
              </a:xfrm>
              <a:prstGeom prst="rect">
                <a:avLst/>
              </a:prstGeom>
            </p:spPr>
          </p:pic>
        </p:grpSp>
      </p:grpSp>
      <p:sp>
        <p:nvSpPr>
          <p:cNvPr id="35" name="Rectangle 9">
            <a:extLst>
              <a:ext uri="{FF2B5EF4-FFF2-40B4-BE49-F238E27FC236}">
                <a16:creationId xmlns:a16="http://schemas.microsoft.com/office/drawing/2014/main" id="{792F9C05-69C7-420E-BEF6-BF97C0ACDA04}"/>
              </a:ext>
            </a:extLst>
          </p:cNvPr>
          <p:cNvSpPr/>
          <p:nvPr/>
        </p:nvSpPr>
        <p:spPr>
          <a:xfrm>
            <a:off x="6585043" y="1802554"/>
            <a:ext cx="1336042" cy="383309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Freeform 5">
            <a:extLst>
              <a:ext uri="{FF2B5EF4-FFF2-40B4-BE49-F238E27FC236}">
                <a16:creationId xmlns:a16="http://schemas.microsoft.com/office/drawing/2014/main" id="{410122C6-7B6A-4AF9-A09E-14A1E4755CC1}"/>
              </a:ext>
            </a:extLst>
          </p:cNvPr>
          <p:cNvSpPr>
            <a:spLocks/>
          </p:cNvSpPr>
          <p:nvPr/>
        </p:nvSpPr>
        <p:spPr bwMode="auto">
          <a:xfrm rot="5929019">
            <a:off x="5490128" y="548207"/>
            <a:ext cx="489857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5">
            <a:extLst>
              <a:ext uri="{FF2B5EF4-FFF2-40B4-BE49-F238E27FC236}">
                <a16:creationId xmlns:a16="http://schemas.microsoft.com/office/drawing/2014/main" id="{5382D1B3-6D1B-4567-B073-B5A8FE4FCB14}"/>
              </a:ext>
            </a:extLst>
          </p:cNvPr>
          <p:cNvSpPr>
            <a:spLocks/>
          </p:cNvSpPr>
          <p:nvPr/>
        </p:nvSpPr>
        <p:spPr bwMode="auto">
          <a:xfrm rot="6289252">
            <a:off x="4783807" y="162341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30031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Discussion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6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What paper offers</a:t>
            </a:r>
          </a:p>
        </p:txBody>
      </p:sp>
      <p:sp>
        <p:nvSpPr>
          <p:cNvPr id="30" name="Oval 47">
            <a:extLst>
              <a:ext uri="{FF2B5EF4-FFF2-40B4-BE49-F238E27FC236}">
                <a16:creationId xmlns:a16="http://schemas.microsoft.com/office/drawing/2014/main" id="{497D969B-9356-407A-BF2B-EE721B91FBEF}"/>
              </a:ext>
            </a:extLst>
          </p:cNvPr>
          <p:cNvSpPr/>
          <p:nvPr/>
        </p:nvSpPr>
        <p:spPr>
          <a:xfrm>
            <a:off x="892215" y="1534701"/>
            <a:ext cx="4368799" cy="4368796"/>
          </a:xfrm>
          <a:prstGeom prst="ellipse">
            <a:avLst/>
          </a:prstGeom>
          <a:solidFill>
            <a:srgbClr val="5A5656"/>
          </a:solidFill>
          <a:ln w="1905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48">
            <a:extLst>
              <a:ext uri="{FF2B5EF4-FFF2-40B4-BE49-F238E27FC236}">
                <a16:creationId xmlns:a16="http://schemas.microsoft.com/office/drawing/2014/main" id="{380B0CDD-D8D7-46C9-BC24-96546D61E392}"/>
              </a:ext>
            </a:extLst>
          </p:cNvPr>
          <p:cNvSpPr/>
          <p:nvPr/>
        </p:nvSpPr>
        <p:spPr>
          <a:xfrm>
            <a:off x="1714102" y="2356588"/>
            <a:ext cx="2725025" cy="2725022"/>
          </a:xfrm>
          <a:prstGeom prst="ellipse">
            <a:avLst/>
          </a:prstGeom>
          <a:solidFill>
            <a:srgbClr val="818181"/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49">
            <a:extLst>
              <a:ext uri="{FF2B5EF4-FFF2-40B4-BE49-F238E27FC236}">
                <a16:creationId xmlns:a16="http://schemas.microsoft.com/office/drawing/2014/main" id="{7807CC25-1E02-4C7F-B0AE-4EBB4198E257}"/>
              </a:ext>
            </a:extLst>
          </p:cNvPr>
          <p:cNvSpPr/>
          <p:nvPr/>
        </p:nvSpPr>
        <p:spPr>
          <a:xfrm>
            <a:off x="2487576" y="3130061"/>
            <a:ext cx="1178077" cy="1178077"/>
          </a:xfrm>
          <a:prstGeom prst="ellipse">
            <a:avLst/>
          </a:prstGeom>
          <a:solidFill>
            <a:srgbClr val="C81919"/>
          </a:solidFill>
          <a:ln w="190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">
            <a:extLst>
              <a:ext uri="{FF2B5EF4-FFF2-40B4-BE49-F238E27FC236}">
                <a16:creationId xmlns:a16="http://schemas.microsoft.com/office/drawing/2014/main" id="{5A3A6D4D-E943-438B-B8D9-72613E27908B}"/>
              </a:ext>
            </a:extLst>
          </p:cNvPr>
          <p:cNvGrpSpPr/>
          <p:nvPr/>
        </p:nvGrpSpPr>
        <p:grpSpPr>
          <a:xfrm>
            <a:off x="2928760" y="2870078"/>
            <a:ext cx="3601294" cy="1698042"/>
            <a:chOff x="2767722" y="3121609"/>
            <a:chExt cx="3601294" cy="1698042"/>
          </a:xfrm>
        </p:grpSpPr>
        <p:grpSp>
          <p:nvGrpSpPr>
            <p:cNvPr id="42" name="Group 50">
              <a:extLst>
                <a:ext uri="{FF2B5EF4-FFF2-40B4-BE49-F238E27FC236}">
                  <a16:creationId xmlns:a16="http://schemas.microsoft.com/office/drawing/2014/main" id="{2832EC0C-F209-440F-9299-66B34F876776}"/>
                </a:ext>
              </a:extLst>
            </p:cNvPr>
            <p:cNvGrpSpPr/>
            <p:nvPr/>
          </p:nvGrpSpPr>
          <p:grpSpPr>
            <a:xfrm rot="4096284">
              <a:off x="4252320" y="1637011"/>
              <a:ext cx="439186" cy="3408381"/>
              <a:chOff x="6339608" y="2032000"/>
              <a:chExt cx="439883" cy="3473580"/>
            </a:xfrm>
          </p:grpSpPr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C4E7FC68-50A9-4EEC-A980-BA6EA0FD57D9}"/>
                  </a:ext>
                </a:extLst>
              </p:cNvPr>
              <p:cNvSpPr/>
              <p:nvPr/>
            </p:nvSpPr>
            <p:spPr>
              <a:xfrm>
                <a:off x="6517291" y="2032000"/>
                <a:ext cx="74010" cy="347358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BBF44CFB-1B33-4483-BC9D-B8E0C2B32773}"/>
                  </a:ext>
                </a:extLst>
              </p:cNvPr>
              <p:cNvSpPr/>
              <p:nvPr/>
            </p:nvSpPr>
            <p:spPr>
              <a:xfrm rot="16200000" flipH="1">
                <a:off x="6310746" y="2312555"/>
                <a:ext cx="749300" cy="188191"/>
              </a:xfrm>
              <a:prstGeom prst="parallelogram">
                <a:avLst>
                  <a:gd name="adj" fmla="val 67341"/>
                </a:avLst>
              </a:prstGeom>
              <a:solidFill>
                <a:srgbClr val="E94D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C2E692DD-AD32-49DC-9B6E-9DD96F6E4328}"/>
                  </a:ext>
                </a:extLst>
              </p:cNvPr>
              <p:cNvSpPr/>
              <p:nvPr/>
            </p:nvSpPr>
            <p:spPr>
              <a:xfrm rot="5400000">
                <a:off x="6059054" y="2312557"/>
                <a:ext cx="749300" cy="188191"/>
              </a:xfrm>
              <a:prstGeom prst="parallelogram">
                <a:avLst>
                  <a:gd name="adj" fmla="val 67341"/>
                </a:avLst>
              </a:prstGeom>
              <a:solidFill>
                <a:srgbClr val="E94D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4" name="Group 38">
              <a:extLst>
                <a:ext uri="{FF2B5EF4-FFF2-40B4-BE49-F238E27FC236}">
                  <a16:creationId xmlns:a16="http://schemas.microsoft.com/office/drawing/2014/main" id="{CAFB6C38-FCBB-4B1B-8FB0-69C4188846DC}"/>
                </a:ext>
              </a:extLst>
            </p:cNvPr>
            <p:cNvGrpSpPr/>
            <p:nvPr/>
          </p:nvGrpSpPr>
          <p:grpSpPr>
            <a:xfrm rot="17503716" flipV="1">
              <a:off x="4252321" y="2895867"/>
              <a:ext cx="439186" cy="3408381"/>
              <a:chOff x="6339608" y="2032000"/>
              <a:chExt cx="439883" cy="3473580"/>
            </a:xfrm>
          </p:grpSpPr>
          <p:sp>
            <p:nvSpPr>
              <p:cNvPr id="49" name="Rectangle: Rounded Corners 39">
                <a:extLst>
                  <a:ext uri="{FF2B5EF4-FFF2-40B4-BE49-F238E27FC236}">
                    <a16:creationId xmlns:a16="http://schemas.microsoft.com/office/drawing/2014/main" id="{404918CC-A91B-4923-95A7-1DEC1B257D1F}"/>
                  </a:ext>
                </a:extLst>
              </p:cNvPr>
              <p:cNvSpPr/>
              <p:nvPr/>
            </p:nvSpPr>
            <p:spPr>
              <a:xfrm>
                <a:off x="6517291" y="2032000"/>
                <a:ext cx="74010" cy="347358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Parallelogram 40">
                <a:extLst>
                  <a:ext uri="{FF2B5EF4-FFF2-40B4-BE49-F238E27FC236}">
                    <a16:creationId xmlns:a16="http://schemas.microsoft.com/office/drawing/2014/main" id="{CDA442A9-B688-44AA-AD70-B6759A6A7A7B}"/>
                  </a:ext>
                </a:extLst>
              </p:cNvPr>
              <p:cNvSpPr/>
              <p:nvPr/>
            </p:nvSpPr>
            <p:spPr>
              <a:xfrm rot="16200000" flipH="1">
                <a:off x="6310746" y="2312555"/>
                <a:ext cx="749300" cy="188191"/>
              </a:xfrm>
              <a:prstGeom prst="parallelogram">
                <a:avLst>
                  <a:gd name="adj" fmla="val 67341"/>
                </a:avLst>
              </a:prstGeom>
              <a:solidFill>
                <a:srgbClr val="E94D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Parallelogram 41">
                <a:extLst>
                  <a:ext uri="{FF2B5EF4-FFF2-40B4-BE49-F238E27FC236}">
                    <a16:creationId xmlns:a16="http://schemas.microsoft.com/office/drawing/2014/main" id="{C5F9E34D-00B5-43D5-BC81-AD262797D63A}"/>
                  </a:ext>
                </a:extLst>
              </p:cNvPr>
              <p:cNvSpPr/>
              <p:nvPr/>
            </p:nvSpPr>
            <p:spPr>
              <a:xfrm rot="5400000">
                <a:off x="6059054" y="2312557"/>
                <a:ext cx="749300" cy="188191"/>
              </a:xfrm>
              <a:prstGeom prst="parallelogram">
                <a:avLst>
                  <a:gd name="adj" fmla="val 67341"/>
                </a:avLst>
              </a:prstGeom>
              <a:solidFill>
                <a:srgbClr val="E94D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2">
              <a:extLst>
                <a:ext uri="{FF2B5EF4-FFF2-40B4-BE49-F238E27FC236}">
                  <a16:creationId xmlns:a16="http://schemas.microsoft.com/office/drawing/2014/main" id="{14B5D03F-8973-4294-BF56-53DEF5CC6E0B}"/>
                </a:ext>
              </a:extLst>
            </p:cNvPr>
            <p:cNvGrpSpPr/>
            <p:nvPr/>
          </p:nvGrpSpPr>
          <p:grpSpPr>
            <a:xfrm rot="5400000">
              <a:off x="4445233" y="2265064"/>
              <a:ext cx="439186" cy="3408381"/>
              <a:chOff x="6339608" y="2032000"/>
              <a:chExt cx="439883" cy="3473580"/>
            </a:xfrm>
          </p:grpSpPr>
          <p:sp>
            <p:nvSpPr>
              <p:cNvPr id="46" name="Rectangle: Rounded Corners 43">
                <a:extLst>
                  <a:ext uri="{FF2B5EF4-FFF2-40B4-BE49-F238E27FC236}">
                    <a16:creationId xmlns:a16="http://schemas.microsoft.com/office/drawing/2014/main" id="{31D24376-6692-44CA-86DB-3512E801300A}"/>
                  </a:ext>
                </a:extLst>
              </p:cNvPr>
              <p:cNvSpPr/>
              <p:nvPr/>
            </p:nvSpPr>
            <p:spPr>
              <a:xfrm>
                <a:off x="6517291" y="2032000"/>
                <a:ext cx="74010" cy="347358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Parallelogram 44">
                <a:extLst>
                  <a:ext uri="{FF2B5EF4-FFF2-40B4-BE49-F238E27FC236}">
                    <a16:creationId xmlns:a16="http://schemas.microsoft.com/office/drawing/2014/main" id="{7398FFC5-A54F-407D-839E-BFFC09E79D46}"/>
                  </a:ext>
                </a:extLst>
              </p:cNvPr>
              <p:cNvSpPr/>
              <p:nvPr/>
            </p:nvSpPr>
            <p:spPr>
              <a:xfrm rot="16200000" flipH="1">
                <a:off x="6310746" y="2312555"/>
                <a:ext cx="749300" cy="188191"/>
              </a:xfrm>
              <a:prstGeom prst="parallelogram">
                <a:avLst>
                  <a:gd name="adj" fmla="val 67341"/>
                </a:avLst>
              </a:prstGeom>
              <a:solidFill>
                <a:srgbClr val="E94D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Parallelogram 45">
                <a:extLst>
                  <a:ext uri="{FF2B5EF4-FFF2-40B4-BE49-F238E27FC236}">
                    <a16:creationId xmlns:a16="http://schemas.microsoft.com/office/drawing/2014/main" id="{A12C7357-871C-4FAC-B090-19970BDD8949}"/>
                  </a:ext>
                </a:extLst>
              </p:cNvPr>
              <p:cNvSpPr/>
              <p:nvPr/>
            </p:nvSpPr>
            <p:spPr>
              <a:xfrm rot="5400000">
                <a:off x="6059054" y="2312557"/>
                <a:ext cx="749300" cy="188191"/>
              </a:xfrm>
              <a:prstGeom prst="parallelogram">
                <a:avLst>
                  <a:gd name="adj" fmla="val 67341"/>
                </a:avLst>
              </a:prstGeom>
              <a:solidFill>
                <a:srgbClr val="E94D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87" name="TextBox 58">
            <a:extLst>
              <a:ext uri="{FF2B5EF4-FFF2-40B4-BE49-F238E27FC236}">
                <a16:creationId xmlns:a16="http://schemas.microsoft.com/office/drawing/2014/main" id="{234AAD08-1205-4A7A-A6E5-4EB12A43DD46}"/>
              </a:ext>
            </a:extLst>
          </p:cNvPr>
          <p:cNvSpPr txBox="1"/>
          <p:nvPr/>
        </p:nvSpPr>
        <p:spPr>
          <a:xfrm>
            <a:off x="7391323" y="3442100"/>
            <a:ext cx="34944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Validation </a:t>
            </a:r>
            <a:r>
              <a:rPr lang="en-US" dirty="0"/>
              <a:t>of APMA in health promotion context</a:t>
            </a:r>
            <a:endParaRPr lang="en-US" b="1" dirty="0"/>
          </a:p>
        </p:txBody>
      </p:sp>
      <p:sp>
        <p:nvSpPr>
          <p:cNvPr id="37" name="TextBox 58">
            <a:extLst>
              <a:ext uri="{FF2B5EF4-FFF2-40B4-BE49-F238E27FC236}">
                <a16:creationId xmlns:a16="http://schemas.microsoft.com/office/drawing/2014/main" id="{9B512A7E-FB49-46F6-946B-4E2A1960E128}"/>
              </a:ext>
            </a:extLst>
          </p:cNvPr>
          <p:cNvSpPr txBox="1"/>
          <p:nvPr/>
        </p:nvSpPr>
        <p:spPr>
          <a:xfrm>
            <a:off x="7391323" y="2278438"/>
            <a:ext cx="34944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Guidelines</a:t>
            </a:r>
            <a:r>
              <a:rPr lang="en-US" dirty="0"/>
              <a:t> to create adaptive persuasive agents</a:t>
            </a:r>
            <a:endParaRPr lang="en-US" b="1" dirty="0"/>
          </a:p>
        </p:txBody>
      </p:sp>
      <p:sp>
        <p:nvSpPr>
          <p:cNvPr id="107" name="TextBox 58">
            <a:extLst>
              <a:ext uri="{FF2B5EF4-FFF2-40B4-BE49-F238E27FC236}">
                <a16:creationId xmlns:a16="http://schemas.microsoft.com/office/drawing/2014/main" id="{A061F8DE-3C95-4AC3-A941-8B0E8ABD6412}"/>
              </a:ext>
            </a:extLst>
          </p:cNvPr>
          <p:cNvSpPr txBox="1"/>
          <p:nvPr/>
        </p:nvSpPr>
        <p:spPr>
          <a:xfrm>
            <a:off x="7391323" y="4605761"/>
            <a:ext cx="34944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Demonstration </a:t>
            </a:r>
            <a:r>
              <a:rPr lang="en-US" dirty="0"/>
              <a:t>of the importance of creating complete interventions</a:t>
            </a:r>
          </a:p>
        </p:txBody>
      </p:sp>
    </p:spTree>
    <p:extLst>
      <p:ext uri="{BB962C8B-B14F-4D97-AF65-F5344CB8AC3E}">
        <p14:creationId xmlns:p14="http://schemas.microsoft.com/office/powerpoint/2010/main" val="16131699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Vrije vorm: vorm 42">
            <a:extLst>
              <a:ext uri="{FF2B5EF4-FFF2-40B4-BE49-F238E27FC236}">
                <a16:creationId xmlns:a16="http://schemas.microsoft.com/office/drawing/2014/main" id="{D3D22680-19C0-41D8-9C1F-E99E5C5F83FC}"/>
              </a:ext>
            </a:extLst>
          </p:cNvPr>
          <p:cNvSpPr/>
          <p:nvPr/>
        </p:nvSpPr>
        <p:spPr>
          <a:xfrm>
            <a:off x="6412593" y="-1699"/>
            <a:ext cx="5783492" cy="6858000"/>
          </a:xfrm>
          <a:custGeom>
            <a:avLst/>
            <a:gdLst>
              <a:gd name="connsiteX0" fmla="*/ 1409458 w 6471519"/>
              <a:gd name="connsiteY0" fmla="*/ 0 h 6858000"/>
              <a:gd name="connsiteX1" fmla="*/ 2709146 w 6471519"/>
              <a:gd name="connsiteY1" fmla="*/ 0 h 6858000"/>
              <a:gd name="connsiteX2" fmla="*/ 6471519 w 6471519"/>
              <a:gd name="connsiteY2" fmla="*/ 0 h 6858000"/>
              <a:gd name="connsiteX3" fmla="*/ 6471519 w 6471519"/>
              <a:gd name="connsiteY3" fmla="*/ 6858000 h 6858000"/>
              <a:gd name="connsiteX4" fmla="*/ 2709146 w 6471519"/>
              <a:gd name="connsiteY4" fmla="*/ 6858000 h 6858000"/>
              <a:gd name="connsiteX5" fmla="*/ 2405 w 6471519"/>
              <a:gd name="connsiteY5" fmla="*/ 6858000 h 6858000"/>
              <a:gd name="connsiteX6" fmla="*/ 1155171 w 6471519"/>
              <a:gd name="connsiteY6" fmla="*/ 2737049 h 6858000"/>
              <a:gd name="connsiteX7" fmla="*/ 1409458 w 647151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71519" h="6858000">
                <a:moveTo>
                  <a:pt x="1409458" y="0"/>
                </a:moveTo>
                <a:lnTo>
                  <a:pt x="2709146" y="0"/>
                </a:lnTo>
                <a:lnTo>
                  <a:pt x="6471519" y="0"/>
                </a:lnTo>
                <a:lnTo>
                  <a:pt x="6471519" y="6858000"/>
                </a:lnTo>
                <a:lnTo>
                  <a:pt x="2709146" y="6858000"/>
                </a:lnTo>
                <a:cubicBezTo>
                  <a:pt x="2709146" y="6858000"/>
                  <a:pt x="2709146" y="6858000"/>
                  <a:pt x="2405" y="6858000"/>
                </a:cubicBezTo>
                <a:cubicBezTo>
                  <a:pt x="-44214" y="4485598"/>
                  <a:pt x="595741" y="4489991"/>
                  <a:pt x="1155171" y="2737049"/>
                </a:cubicBezTo>
                <a:cubicBezTo>
                  <a:pt x="1716015" y="988501"/>
                  <a:pt x="1409458" y="0"/>
                  <a:pt x="1409458" y="0"/>
                </a:cubicBez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0" name="Freeform 5">
            <a:extLst>
              <a:ext uri="{FF2B5EF4-FFF2-40B4-BE49-F238E27FC236}">
                <a16:creationId xmlns:a16="http://schemas.microsoft.com/office/drawing/2014/main" id="{410122C6-7B6A-4AF9-A09E-14A1E4755CC1}"/>
              </a:ext>
            </a:extLst>
          </p:cNvPr>
          <p:cNvSpPr>
            <a:spLocks/>
          </p:cNvSpPr>
          <p:nvPr/>
        </p:nvSpPr>
        <p:spPr bwMode="auto">
          <a:xfrm rot="5929019">
            <a:off x="5490128" y="548207"/>
            <a:ext cx="489857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5">
            <a:extLst>
              <a:ext uri="{FF2B5EF4-FFF2-40B4-BE49-F238E27FC236}">
                <a16:creationId xmlns:a16="http://schemas.microsoft.com/office/drawing/2014/main" id="{5382D1B3-6D1B-4567-B073-B5A8FE4FCB14}"/>
              </a:ext>
            </a:extLst>
          </p:cNvPr>
          <p:cNvSpPr>
            <a:spLocks/>
          </p:cNvSpPr>
          <p:nvPr/>
        </p:nvSpPr>
        <p:spPr bwMode="auto">
          <a:xfrm rot="6289252">
            <a:off x="4725933" y="121583"/>
            <a:ext cx="6674453" cy="9440836"/>
          </a:xfrm>
          <a:custGeom>
            <a:avLst/>
            <a:gdLst>
              <a:gd name="T0" fmla="*/ 1029 w 1949"/>
              <a:gd name="T1" fmla="*/ 0 h 1561"/>
              <a:gd name="T2" fmla="*/ 849 w 1949"/>
              <a:gd name="T3" fmla="*/ 623 h 1561"/>
              <a:gd name="T4" fmla="*/ 33 w 1949"/>
              <a:gd name="T5" fmla="*/ 1561 h 1561"/>
              <a:gd name="T6" fmla="*/ 1949 w 1949"/>
              <a:gd name="T7" fmla="*/ 1561 h 1561"/>
              <a:gd name="T8" fmla="*/ 1949 w 1949"/>
              <a:gd name="T9" fmla="*/ 0 h 1561"/>
              <a:gd name="T10" fmla="*/ 1029 w 1949"/>
              <a:gd name="T11" fmla="*/ 0 h 1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49" h="1561">
                <a:moveTo>
                  <a:pt x="1029" y="0"/>
                </a:moveTo>
                <a:cubicBezTo>
                  <a:pt x="1029" y="0"/>
                  <a:pt x="1246" y="225"/>
                  <a:pt x="849" y="623"/>
                </a:cubicBezTo>
                <a:cubicBezTo>
                  <a:pt x="453" y="1022"/>
                  <a:pt x="0" y="1021"/>
                  <a:pt x="33" y="1561"/>
                </a:cubicBezTo>
                <a:cubicBezTo>
                  <a:pt x="1949" y="1561"/>
                  <a:pt x="1949" y="1561"/>
                  <a:pt x="1949" y="1561"/>
                </a:cubicBezTo>
                <a:cubicBezTo>
                  <a:pt x="1949" y="0"/>
                  <a:pt x="1949" y="0"/>
                  <a:pt x="1949" y="0"/>
                </a:cubicBezTo>
                <a:lnTo>
                  <a:pt x="1029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B8759A46-C8B7-4681-BCDF-67F2816A8E98}"/>
              </a:ext>
            </a:extLst>
          </p:cNvPr>
          <p:cNvSpPr txBox="1">
            <a:spLocks/>
          </p:cNvSpPr>
          <p:nvPr/>
        </p:nvSpPr>
        <p:spPr>
          <a:xfrm>
            <a:off x="723900" y="722163"/>
            <a:ext cx="4556040" cy="295465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9600" b="1" dirty="0">
                <a:solidFill>
                  <a:srgbClr val="C81919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grpSp>
        <p:nvGrpSpPr>
          <p:cNvPr id="27" name="Group 46">
            <a:extLst>
              <a:ext uri="{FF2B5EF4-FFF2-40B4-BE49-F238E27FC236}">
                <a16:creationId xmlns:a16="http://schemas.microsoft.com/office/drawing/2014/main" id="{EC9DDC2D-CE71-4349-9732-52576B79B45F}"/>
              </a:ext>
            </a:extLst>
          </p:cNvPr>
          <p:cNvGrpSpPr/>
          <p:nvPr/>
        </p:nvGrpSpPr>
        <p:grpSpPr>
          <a:xfrm>
            <a:off x="856065" y="5025225"/>
            <a:ext cx="667172" cy="549001"/>
            <a:chOff x="856065" y="5025225"/>
            <a:chExt cx="667172" cy="549001"/>
          </a:xfrm>
        </p:grpSpPr>
        <p:sp>
          <p:nvSpPr>
            <p:cNvPr id="28" name="Oval 136">
              <a:extLst>
                <a:ext uri="{FF2B5EF4-FFF2-40B4-BE49-F238E27FC236}">
                  <a16:creationId xmlns:a16="http://schemas.microsoft.com/office/drawing/2014/main" id="{5E4E1915-E621-4CC0-94C6-A9E1C276F631}"/>
                </a:ext>
              </a:extLst>
            </p:cNvPr>
            <p:cNvSpPr/>
            <p:nvPr/>
          </p:nvSpPr>
          <p:spPr>
            <a:xfrm>
              <a:off x="974236" y="5025225"/>
              <a:ext cx="549001" cy="549001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9" name="Group 148">
              <a:extLst>
                <a:ext uri="{FF2B5EF4-FFF2-40B4-BE49-F238E27FC236}">
                  <a16:creationId xmlns:a16="http://schemas.microsoft.com/office/drawing/2014/main" id="{760DB44E-5851-4014-88E7-FC4A144344B3}"/>
                </a:ext>
              </a:extLst>
            </p:cNvPr>
            <p:cNvGrpSpPr/>
            <p:nvPr/>
          </p:nvGrpSpPr>
          <p:grpSpPr>
            <a:xfrm rot="18000000" flipV="1">
              <a:off x="1025944" y="4957717"/>
              <a:ext cx="95250" cy="435007"/>
              <a:chOff x="6553200" y="687371"/>
              <a:chExt cx="95250" cy="435007"/>
            </a:xfrm>
          </p:grpSpPr>
          <p:cxnSp>
            <p:nvCxnSpPr>
              <p:cNvPr id="30" name="Straight Connector 149">
                <a:extLst>
                  <a:ext uri="{FF2B5EF4-FFF2-40B4-BE49-F238E27FC236}">
                    <a16:creationId xmlns:a16="http://schemas.microsoft.com/office/drawing/2014/main" id="{AFBBBC7F-6A47-4179-9549-C5FFD17E65D1}"/>
                  </a:ext>
                </a:extLst>
              </p:cNvPr>
              <p:cNvCxnSpPr/>
              <p:nvPr/>
            </p:nvCxnSpPr>
            <p:spPr>
              <a:xfrm>
                <a:off x="6553200" y="687371"/>
                <a:ext cx="0" cy="311182"/>
              </a:xfrm>
              <a:prstGeom prst="line">
                <a:avLst/>
              </a:prstGeom>
              <a:ln w="41275" cap="rnd">
                <a:solidFill>
                  <a:srgbClr val="F6B8B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150">
                <a:extLst>
                  <a:ext uri="{FF2B5EF4-FFF2-40B4-BE49-F238E27FC236}">
                    <a16:creationId xmlns:a16="http://schemas.microsoft.com/office/drawing/2014/main" id="{0FDC29EB-8633-43F8-94DC-022714A245D1}"/>
                  </a:ext>
                </a:extLst>
              </p:cNvPr>
              <p:cNvCxnSpPr/>
              <p:nvPr/>
            </p:nvCxnSpPr>
            <p:spPr>
              <a:xfrm>
                <a:off x="6648450" y="811196"/>
                <a:ext cx="0" cy="311182"/>
              </a:xfrm>
              <a:prstGeom prst="line">
                <a:avLst/>
              </a:prstGeom>
              <a:ln w="41275" cap="rnd">
                <a:solidFill>
                  <a:srgbClr val="F6B8B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" name="Group 1">
            <a:extLst>
              <a:ext uri="{FF2B5EF4-FFF2-40B4-BE49-F238E27FC236}">
                <a16:creationId xmlns:a16="http://schemas.microsoft.com/office/drawing/2014/main" id="{DB28C1FC-733D-4344-AE25-47275D9FBDF6}"/>
              </a:ext>
            </a:extLst>
          </p:cNvPr>
          <p:cNvGrpSpPr/>
          <p:nvPr/>
        </p:nvGrpSpPr>
        <p:grpSpPr>
          <a:xfrm>
            <a:off x="5102891" y="1223028"/>
            <a:ext cx="657106" cy="549001"/>
            <a:chOff x="5102891" y="1223028"/>
            <a:chExt cx="657106" cy="549001"/>
          </a:xfrm>
        </p:grpSpPr>
        <p:sp>
          <p:nvSpPr>
            <p:cNvPr id="33" name="Oval 141">
              <a:extLst>
                <a:ext uri="{FF2B5EF4-FFF2-40B4-BE49-F238E27FC236}">
                  <a16:creationId xmlns:a16="http://schemas.microsoft.com/office/drawing/2014/main" id="{7021A3DB-EAFA-4D51-A772-15850DD5BA06}"/>
                </a:ext>
              </a:extLst>
            </p:cNvPr>
            <p:cNvSpPr/>
            <p:nvPr/>
          </p:nvSpPr>
          <p:spPr>
            <a:xfrm flipV="1">
              <a:off x="5102891" y="1223028"/>
              <a:ext cx="549001" cy="549001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" name="Group 44">
              <a:extLst>
                <a:ext uri="{FF2B5EF4-FFF2-40B4-BE49-F238E27FC236}">
                  <a16:creationId xmlns:a16="http://schemas.microsoft.com/office/drawing/2014/main" id="{1F325C57-8893-4F11-812D-4A02F19D0A7B}"/>
                </a:ext>
              </a:extLst>
            </p:cNvPr>
            <p:cNvGrpSpPr/>
            <p:nvPr/>
          </p:nvGrpSpPr>
          <p:grpSpPr>
            <a:xfrm rot="3600000">
              <a:off x="5494869" y="1125855"/>
              <a:ext cx="95250" cy="435007"/>
              <a:chOff x="6553200" y="687371"/>
              <a:chExt cx="95250" cy="435007"/>
            </a:xfrm>
          </p:grpSpPr>
          <p:cxnSp>
            <p:nvCxnSpPr>
              <p:cNvPr id="35" name="Straight Connector 42">
                <a:extLst>
                  <a:ext uri="{FF2B5EF4-FFF2-40B4-BE49-F238E27FC236}">
                    <a16:creationId xmlns:a16="http://schemas.microsoft.com/office/drawing/2014/main" id="{A6EB7309-2C96-407B-BD59-86FA70B0726F}"/>
                  </a:ext>
                </a:extLst>
              </p:cNvPr>
              <p:cNvCxnSpPr/>
              <p:nvPr/>
            </p:nvCxnSpPr>
            <p:spPr>
              <a:xfrm>
                <a:off x="6553200" y="687371"/>
                <a:ext cx="0" cy="311182"/>
              </a:xfrm>
              <a:prstGeom prst="line">
                <a:avLst/>
              </a:prstGeom>
              <a:ln w="41275" cap="rnd">
                <a:solidFill>
                  <a:srgbClr val="F6B8B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147">
                <a:extLst>
                  <a:ext uri="{FF2B5EF4-FFF2-40B4-BE49-F238E27FC236}">
                    <a16:creationId xmlns:a16="http://schemas.microsoft.com/office/drawing/2014/main" id="{65A3E2DB-BA61-465C-8A7F-CC9408604BAF}"/>
                  </a:ext>
                </a:extLst>
              </p:cNvPr>
              <p:cNvCxnSpPr/>
              <p:nvPr/>
            </p:nvCxnSpPr>
            <p:spPr>
              <a:xfrm>
                <a:off x="6648450" y="811196"/>
                <a:ext cx="0" cy="311182"/>
              </a:xfrm>
              <a:prstGeom prst="line">
                <a:avLst/>
              </a:prstGeom>
              <a:ln w="41275" cap="rnd">
                <a:solidFill>
                  <a:srgbClr val="F6B8B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Subtitle 7">
            <a:extLst>
              <a:ext uri="{FF2B5EF4-FFF2-40B4-BE49-F238E27FC236}">
                <a16:creationId xmlns:a16="http://schemas.microsoft.com/office/drawing/2014/main" id="{D04D3C5F-33CA-43F5-90FE-833F2C86FAAD}"/>
              </a:ext>
            </a:extLst>
          </p:cNvPr>
          <p:cNvSpPr txBox="1">
            <a:spLocks/>
          </p:cNvSpPr>
          <p:nvPr/>
        </p:nvSpPr>
        <p:spPr>
          <a:xfrm>
            <a:off x="1776458" y="5025224"/>
            <a:ext cx="9144000" cy="9382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y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.E. d’Hondt, R.C.Y. Nuijten, P.M.E. Van Gorp</a:t>
            </a:r>
            <a:br>
              <a:rPr lang="cy-GB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cy-GB" sz="1800" i="1" dirty="0">
                <a:solidFill>
                  <a:schemeClr val="bg1">
                    <a:lumMod val="50000"/>
                  </a:schemeClr>
                </a:solidFill>
              </a:rPr>
              <a:t>Eindhoven University of Technology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35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warp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9210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ystem overview</a:t>
            </a:r>
          </a:p>
        </p:txBody>
      </p:sp>
      <p:grpSp>
        <p:nvGrpSpPr>
          <p:cNvPr id="39" name="Groep 38">
            <a:extLst>
              <a:ext uri="{FF2B5EF4-FFF2-40B4-BE49-F238E27FC236}">
                <a16:creationId xmlns:a16="http://schemas.microsoft.com/office/drawing/2014/main" id="{2432523B-20CE-4AB5-9C53-A2704F62A517}"/>
              </a:ext>
            </a:extLst>
          </p:cNvPr>
          <p:cNvGrpSpPr/>
          <p:nvPr/>
        </p:nvGrpSpPr>
        <p:grpSpPr>
          <a:xfrm>
            <a:off x="1362077" y="3429000"/>
            <a:ext cx="3489192" cy="430887"/>
            <a:chOff x="874713" y="2844451"/>
            <a:chExt cx="3489192" cy="430887"/>
          </a:xfrm>
        </p:grpSpPr>
        <p:grpSp>
          <p:nvGrpSpPr>
            <p:cNvPr id="40" name="Group 12">
              <a:extLst>
                <a:ext uri="{FF2B5EF4-FFF2-40B4-BE49-F238E27FC236}">
                  <a16:creationId xmlns:a16="http://schemas.microsoft.com/office/drawing/2014/main" id="{3BF3ECF6-A36A-401F-8C68-74909730DDB7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42" name="Oval 179">
                <a:extLst>
                  <a:ext uri="{FF2B5EF4-FFF2-40B4-BE49-F238E27FC236}">
                    <a16:creationId xmlns:a16="http://schemas.microsoft.com/office/drawing/2014/main" id="{07257966-8421-4464-BC4F-271DCC43D83C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188">
                <a:extLst>
                  <a:ext uri="{FF2B5EF4-FFF2-40B4-BE49-F238E27FC236}">
                    <a16:creationId xmlns:a16="http://schemas.microsoft.com/office/drawing/2014/main" id="{A4061575-39FE-4E35-ABDD-26FC7CD51BBA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1" name="TextBox 192">
              <a:extLst>
                <a:ext uri="{FF2B5EF4-FFF2-40B4-BE49-F238E27FC236}">
                  <a16:creationId xmlns:a16="http://schemas.microsoft.com/office/drawing/2014/main" id="{6BA87CA8-CBC7-4B23-9483-0A617DE34296}"/>
                </a:ext>
              </a:extLst>
            </p:cNvPr>
            <p:cNvSpPr txBox="1"/>
            <p:nvPr/>
          </p:nvSpPr>
          <p:spPr>
            <a:xfrm>
              <a:off x="1713841" y="284445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ython script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message creation and transmission</a:t>
              </a: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44" name="Groep 43">
            <a:extLst>
              <a:ext uri="{FF2B5EF4-FFF2-40B4-BE49-F238E27FC236}">
                <a16:creationId xmlns:a16="http://schemas.microsoft.com/office/drawing/2014/main" id="{469F74C8-899C-4083-A8D8-7E748E1B8BC3}"/>
              </a:ext>
            </a:extLst>
          </p:cNvPr>
          <p:cNvGrpSpPr/>
          <p:nvPr/>
        </p:nvGrpSpPr>
        <p:grpSpPr>
          <a:xfrm>
            <a:off x="1362077" y="2258083"/>
            <a:ext cx="3489192" cy="368300"/>
            <a:chOff x="874713" y="1856027"/>
            <a:chExt cx="3489192" cy="368300"/>
          </a:xfrm>
        </p:grpSpPr>
        <p:grpSp>
          <p:nvGrpSpPr>
            <p:cNvPr id="45" name="Group 13">
              <a:extLst>
                <a:ext uri="{FF2B5EF4-FFF2-40B4-BE49-F238E27FC236}">
                  <a16:creationId xmlns:a16="http://schemas.microsoft.com/office/drawing/2014/main" id="{082C61CA-BA13-4FE8-B11F-6D8E7BAB8707}"/>
                </a:ext>
              </a:extLst>
            </p:cNvPr>
            <p:cNvGrpSpPr/>
            <p:nvPr/>
          </p:nvGrpSpPr>
          <p:grpSpPr>
            <a:xfrm>
              <a:off x="874713" y="1856027"/>
              <a:ext cx="487364" cy="368300"/>
              <a:chOff x="8102600" y="2039503"/>
              <a:chExt cx="487364" cy="368300"/>
            </a:xfrm>
          </p:grpSpPr>
          <p:sp>
            <p:nvSpPr>
              <p:cNvPr id="47" name="Oval 2">
                <a:extLst>
                  <a:ext uri="{FF2B5EF4-FFF2-40B4-BE49-F238E27FC236}">
                    <a16:creationId xmlns:a16="http://schemas.microsoft.com/office/drawing/2014/main" id="{E6F3B8C4-272B-4A72-9AFB-BF6FC725916B}"/>
                  </a:ext>
                </a:extLst>
              </p:cNvPr>
              <p:cNvSpPr/>
              <p:nvPr/>
            </p:nvSpPr>
            <p:spPr>
              <a:xfrm>
                <a:off x="8102600" y="2039503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Oval 187">
                <a:extLst>
                  <a:ext uri="{FF2B5EF4-FFF2-40B4-BE49-F238E27FC236}">
                    <a16:creationId xmlns:a16="http://schemas.microsoft.com/office/drawing/2014/main" id="{DFFA4853-C25B-4930-A4FF-1B2F1D0B4C18}"/>
                  </a:ext>
                </a:extLst>
              </p:cNvPr>
              <p:cNvSpPr/>
              <p:nvPr/>
            </p:nvSpPr>
            <p:spPr>
              <a:xfrm>
                <a:off x="8221664" y="2039503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6" name="TextBox 191">
              <a:extLst>
                <a:ext uri="{FF2B5EF4-FFF2-40B4-BE49-F238E27FC236}">
                  <a16:creationId xmlns:a16="http://schemas.microsoft.com/office/drawing/2014/main" id="{DF9AA3B0-CD68-4E0A-BF66-9C0D35F328EE}"/>
                </a:ext>
              </a:extLst>
            </p:cNvPr>
            <p:cNvSpPr txBox="1"/>
            <p:nvPr/>
          </p:nvSpPr>
          <p:spPr>
            <a:xfrm>
              <a:off x="1713841" y="1932455"/>
              <a:ext cx="26500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pring API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s database manager</a:t>
              </a:r>
              <a:endParaRPr lang="en-US" sz="1400" baseline="30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54" name="Groep 53">
            <a:extLst>
              <a:ext uri="{FF2B5EF4-FFF2-40B4-BE49-F238E27FC236}">
                <a16:creationId xmlns:a16="http://schemas.microsoft.com/office/drawing/2014/main" id="{7196841A-9B01-4BC1-A48F-7C15D3DC6144}"/>
              </a:ext>
            </a:extLst>
          </p:cNvPr>
          <p:cNvGrpSpPr/>
          <p:nvPr/>
        </p:nvGrpSpPr>
        <p:grpSpPr>
          <a:xfrm>
            <a:off x="1362077" y="4638713"/>
            <a:ext cx="3489192" cy="430887"/>
            <a:chOff x="874713" y="3871671"/>
            <a:chExt cx="3489192" cy="430887"/>
          </a:xfrm>
        </p:grpSpPr>
        <p:grpSp>
          <p:nvGrpSpPr>
            <p:cNvPr id="55" name="Group 5">
              <a:extLst>
                <a:ext uri="{FF2B5EF4-FFF2-40B4-BE49-F238E27FC236}">
                  <a16:creationId xmlns:a16="http://schemas.microsoft.com/office/drawing/2014/main" id="{8096E771-02AE-4D65-A9D2-C378B2E1BEFD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57" name="Oval 180">
                <a:extLst>
                  <a:ext uri="{FF2B5EF4-FFF2-40B4-BE49-F238E27FC236}">
                    <a16:creationId xmlns:a16="http://schemas.microsoft.com/office/drawing/2014/main" id="{7CA2144B-1324-44B1-AC4F-D7657DB1251C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189">
                <a:extLst>
                  <a:ext uri="{FF2B5EF4-FFF2-40B4-BE49-F238E27FC236}">
                    <a16:creationId xmlns:a16="http://schemas.microsoft.com/office/drawing/2014/main" id="{9A05B2BB-7BE9-4D18-BB82-131A222C9624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6" name="TextBox 193">
              <a:extLst>
                <a:ext uri="{FF2B5EF4-FFF2-40B4-BE49-F238E27FC236}">
                  <a16:creationId xmlns:a16="http://schemas.microsoft.com/office/drawing/2014/main" id="{A546FCA8-A40C-4486-AEC7-A0B8C5839F00}"/>
                </a:ext>
              </a:extLst>
            </p:cNvPr>
            <p:cNvSpPr txBox="1"/>
            <p:nvPr/>
          </p:nvSpPr>
          <p:spPr>
            <a:xfrm>
              <a:off x="1713841" y="387167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pache Kafka queu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which acts as a buffer to prevent job overflow</a:t>
              </a: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B4027A7D-E605-4F81-BF39-9986E0EC8F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367" y="2610092"/>
            <a:ext cx="5459066" cy="2107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11568"/>
      </p:ext>
    </p:extLst>
  </p:cSld>
  <p:clrMapOvr>
    <a:masterClrMapping/>
  </p:clrMapOvr>
  <p:transition spd="slow">
    <p:push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9210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Equations</a:t>
            </a:r>
          </a:p>
        </p:txBody>
      </p:sp>
      <p:sp>
        <p:nvSpPr>
          <p:cNvPr id="26" name="TextBox 193">
            <a:extLst>
              <a:ext uri="{FF2B5EF4-FFF2-40B4-BE49-F238E27FC236}">
                <a16:creationId xmlns:a16="http://schemas.microsoft.com/office/drawing/2014/main" id="{B5152898-80DA-4D4A-BF9C-91A7975E12EE}"/>
              </a:ext>
            </a:extLst>
          </p:cNvPr>
          <p:cNvSpPr txBox="1"/>
          <p:nvPr/>
        </p:nvSpPr>
        <p:spPr>
          <a:xfrm>
            <a:off x="1737780" y="1671541"/>
            <a:ext cx="34129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ames Stein shrinkage</a:t>
            </a:r>
          </a:p>
        </p:txBody>
      </p:sp>
      <p:sp>
        <p:nvSpPr>
          <p:cNvPr id="27" name="TextBox 193">
            <a:extLst>
              <a:ext uri="{FF2B5EF4-FFF2-40B4-BE49-F238E27FC236}">
                <a16:creationId xmlns:a16="http://schemas.microsoft.com/office/drawing/2014/main" id="{057C362C-7453-4B83-9E4B-467F51D59A2E}"/>
              </a:ext>
            </a:extLst>
          </p:cNvPr>
          <p:cNvSpPr txBox="1"/>
          <p:nvPr/>
        </p:nvSpPr>
        <p:spPr>
          <a:xfrm>
            <a:off x="7624167" y="1671542"/>
            <a:ext cx="265006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arning rules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F8715912-95AF-40A3-833B-3206CC1109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0490"/>
          <a:stretch/>
        </p:blipFill>
        <p:spPr>
          <a:xfrm>
            <a:off x="1198031" y="2469525"/>
            <a:ext cx="5221287" cy="3291016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A6AD127B-F765-4524-96B4-13F38A17B2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5899" y="2531777"/>
            <a:ext cx="3185932" cy="1119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208412"/>
      </p:ext>
    </p:extLst>
  </p:cSld>
  <p:clrMapOvr>
    <a:masterClrMapping/>
  </p:clrMapOvr>
  <p:transition spd="slow">
    <p:push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9210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imitations</a:t>
            </a:r>
          </a:p>
        </p:txBody>
      </p:sp>
      <p:grpSp>
        <p:nvGrpSpPr>
          <p:cNvPr id="40" name="Group 150">
            <a:extLst>
              <a:ext uri="{FF2B5EF4-FFF2-40B4-BE49-F238E27FC236}">
                <a16:creationId xmlns:a16="http://schemas.microsoft.com/office/drawing/2014/main" id="{82EA2722-4141-4A87-A82A-0D4D857D7849}"/>
              </a:ext>
            </a:extLst>
          </p:cNvPr>
          <p:cNvGrpSpPr/>
          <p:nvPr/>
        </p:nvGrpSpPr>
        <p:grpSpPr>
          <a:xfrm>
            <a:off x="1189578" y="1925836"/>
            <a:ext cx="4002610" cy="700832"/>
            <a:chOff x="536073" y="1556055"/>
            <a:chExt cx="4002610" cy="700832"/>
          </a:xfrm>
        </p:grpSpPr>
        <p:sp>
          <p:nvSpPr>
            <p:cNvPr id="41" name="Oval 138">
              <a:extLst>
                <a:ext uri="{FF2B5EF4-FFF2-40B4-BE49-F238E27FC236}">
                  <a16:creationId xmlns:a16="http://schemas.microsoft.com/office/drawing/2014/main" id="{25DD2977-3305-4370-8AE1-909751BF4021}"/>
                </a:ext>
              </a:extLst>
            </p:cNvPr>
            <p:cNvSpPr/>
            <p:nvPr/>
          </p:nvSpPr>
          <p:spPr>
            <a:xfrm>
              <a:off x="745492" y="1556055"/>
              <a:ext cx="700833" cy="700832"/>
            </a:xfrm>
            <a:prstGeom prst="ellipse">
              <a:avLst/>
            </a:prstGeom>
            <a:solidFill>
              <a:srgbClr val="E94D4D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2" name="TextBox 139">
              <a:extLst>
                <a:ext uri="{FF2B5EF4-FFF2-40B4-BE49-F238E27FC236}">
                  <a16:creationId xmlns:a16="http://schemas.microsoft.com/office/drawing/2014/main" id="{3CE0C8F1-194D-4DDC-B2E1-C947682F0123}"/>
                </a:ext>
              </a:extLst>
            </p:cNvPr>
            <p:cNvSpPr txBox="1"/>
            <p:nvPr/>
          </p:nvSpPr>
          <p:spPr>
            <a:xfrm>
              <a:off x="536073" y="1583305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1</a:t>
              </a:r>
            </a:p>
          </p:txBody>
        </p:sp>
        <p:sp>
          <p:nvSpPr>
            <p:cNvPr id="43" name="TextBox 34">
              <a:extLst>
                <a:ext uri="{FF2B5EF4-FFF2-40B4-BE49-F238E27FC236}">
                  <a16:creationId xmlns:a16="http://schemas.microsoft.com/office/drawing/2014/main" id="{9D6DDA31-1404-4195-B698-DD41CE09EC33}"/>
                </a:ext>
              </a:extLst>
            </p:cNvPr>
            <p:cNvSpPr txBox="1"/>
            <p:nvPr/>
          </p:nvSpPr>
          <p:spPr>
            <a:xfrm>
              <a:off x="1360874" y="1670113"/>
              <a:ext cx="3177809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mall sample size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.t.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high drop-out rates and low participant engagement</a:t>
              </a:r>
            </a:p>
          </p:txBody>
        </p:sp>
      </p:grpSp>
      <p:grpSp>
        <p:nvGrpSpPr>
          <p:cNvPr id="44" name="Group 149">
            <a:extLst>
              <a:ext uri="{FF2B5EF4-FFF2-40B4-BE49-F238E27FC236}">
                <a16:creationId xmlns:a16="http://schemas.microsoft.com/office/drawing/2014/main" id="{A67FBEEC-83A1-4164-B652-E8F9CE819752}"/>
              </a:ext>
            </a:extLst>
          </p:cNvPr>
          <p:cNvGrpSpPr/>
          <p:nvPr/>
        </p:nvGrpSpPr>
        <p:grpSpPr>
          <a:xfrm>
            <a:off x="1191528" y="3447227"/>
            <a:ext cx="4002610" cy="646331"/>
            <a:chOff x="3999388" y="1622894"/>
            <a:chExt cx="4002610" cy="646331"/>
          </a:xfrm>
        </p:grpSpPr>
        <p:sp>
          <p:nvSpPr>
            <p:cNvPr id="46" name="TextBox 135">
              <a:extLst>
                <a:ext uri="{FF2B5EF4-FFF2-40B4-BE49-F238E27FC236}">
                  <a16:creationId xmlns:a16="http://schemas.microsoft.com/office/drawing/2014/main" id="{B752D751-9ED7-4666-B328-25FF5860F8EF}"/>
                </a:ext>
              </a:extLst>
            </p:cNvPr>
            <p:cNvSpPr txBox="1"/>
            <p:nvPr/>
          </p:nvSpPr>
          <p:spPr>
            <a:xfrm>
              <a:off x="4824189" y="1738638"/>
              <a:ext cx="3177809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fluence Strategy Choice method.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RPM &amp; JSS low computation time, but not optimal</a:t>
              </a:r>
            </a:p>
          </p:txBody>
        </p:sp>
        <p:sp>
          <p:nvSpPr>
            <p:cNvPr id="47" name="TextBox 141">
              <a:extLst>
                <a:ext uri="{FF2B5EF4-FFF2-40B4-BE49-F238E27FC236}">
                  <a16:creationId xmlns:a16="http://schemas.microsoft.com/office/drawing/2014/main" id="{24C048DA-AB18-43E7-8A7D-5234B9643D6C}"/>
                </a:ext>
              </a:extLst>
            </p:cNvPr>
            <p:cNvSpPr txBox="1"/>
            <p:nvPr/>
          </p:nvSpPr>
          <p:spPr>
            <a:xfrm>
              <a:off x="3999388" y="1622894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</p:grpSp>
      <p:grpSp>
        <p:nvGrpSpPr>
          <p:cNvPr id="48" name="Group 148">
            <a:extLst>
              <a:ext uri="{FF2B5EF4-FFF2-40B4-BE49-F238E27FC236}">
                <a16:creationId xmlns:a16="http://schemas.microsoft.com/office/drawing/2014/main" id="{C66AE4AC-1E3C-4470-8DAA-A4CFF3BB28DD}"/>
              </a:ext>
            </a:extLst>
          </p:cNvPr>
          <p:cNvGrpSpPr/>
          <p:nvPr/>
        </p:nvGrpSpPr>
        <p:grpSpPr>
          <a:xfrm>
            <a:off x="1193668" y="4941368"/>
            <a:ext cx="3998520" cy="646331"/>
            <a:chOff x="7892821" y="1662198"/>
            <a:chExt cx="3998520" cy="646331"/>
          </a:xfrm>
        </p:grpSpPr>
        <p:sp>
          <p:nvSpPr>
            <p:cNvPr id="50" name="TextBox 136">
              <a:extLst>
                <a:ext uri="{FF2B5EF4-FFF2-40B4-BE49-F238E27FC236}">
                  <a16:creationId xmlns:a16="http://schemas.microsoft.com/office/drawing/2014/main" id="{956B23BB-735C-490F-931F-B1008E72B9B1}"/>
                </a:ext>
              </a:extLst>
            </p:cNvPr>
            <p:cNvSpPr txBox="1"/>
            <p:nvPr/>
          </p:nvSpPr>
          <p:spPr>
            <a:xfrm>
              <a:off x="8717623" y="1662198"/>
              <a:ext cx="3173718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ctivity trigger not so effectiv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Similar to assignment problem in literature on Reinforcement Learning</a:t>
              </a: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1" name="TextBox 143">
              <a:extLst>
                <a:ext uri="{FF2B5EF4-FFF2-40B4-BE49-F238E27FC236}">
                  <a16:creationId xmlns:a16="http://schemas.microsoft.com/office/drawing/2014/main" id="{2DD1CEAF-7576-4ABD-B37F-63CA58798690}"/>
                </a:ext>
              </a:extLst>
            </p:cNvPr>
            <p:cNvSpPr txBox="1"/>
            <p:nvPr/>
          </p:nvSpPr>
          <p:spPr>
            <a:xfrm>
              <a:off x="7892821" y="1662198"/>
              <a:ext cx="70083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600" b="1" dirty="0">
                  <a:solidFill>
                    <a:srgbClr val="E94D4D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</p:grpSp>
      <p:sp>
        <p:nvSpPr>
          <p:cNvPr id="52" name="Oval 138">
            <a:extLst>
              <a:ext uri="{FF2B5EF4-FFF2-40B4-BE49-F238E27FC236}">
                <a16:creationId xmlns:a16="http://schemas.microsoft.com/office/drawing/2014/main" id="{0F7226C6-8DAC-44F6-915C-031A989DB1AD}"/>
              </a:ext>
            </a:extLst>
          </p:cNvPr>
          <p:cNvSpPr/>
          <p:nvPr/>
        </p:nvSpPr>
        <p:spPr>
          <a:xfrm>
            <a:off x="1398996" y="3442117"/>
            <a:ext cx="700833" cy="700832"/>
          </a:xfrm>
          <a:prstGeom prst="ellipse">
            <a:avLst/>
          </a:prstGeom>
          <a:solidFill>
            <a:srgbClr val="E94D4D">
              <a:alpha val="5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3" name="Oval 138">
            <a:extLst>
              <a:ext uri="{FF2B5EF4-FFF2-40B4-BE49-F238E27FC236}">
                <a16:creationId xmlns:a16="http://schemas.microsoft.com/office/drawing/2014/main" id="{30CC4531-EC53-4674-8D0E-A5A77A5D3CA5}"/>
              </a:ext>
            </a:extLst>
          </p:cNvPr>
          <p:cNvSpPr/>
          <p:nvPr/>
        </p:nvSpPr>
        <p:spPr>
          <a:xfrm>
            <a:off x="1398996" y="4941368"/>
            <a:ext cx="700833" cy="700832"/>
          </a:xfrm>
          <a:prstGeom prst="ellipse">
            <a:avLst/>
          </a:prstGeom>
          <a:solidFill>
            <a:srgbClr val="E94D4D">
              <a:alpha val="5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3" name="Rechte verbindingslijn met pijl 2">
            <a:extLst>
              <a:ext uri="{FF2B5EF4-FFF2-40B4-BE49-F238E27FC236}">
                <a16:creationId xmlns:a16="http://schemas.microsoft.com/office/drawing/2014/main" id="{C7BB07F0-7E55-4A6E-98F4-E71345DB3783}"/>
              </a:ext>
            </a:extLst>
          </p:cNvPr>
          <p:cNvCxnSpPr>
            <a:cxnSpLocks/>
          </p:cNvCxnSpPr>
          <p:nvPr/>
        </p:nvCxnSpPr>
        <p:spPr>
          <a:xfrm>
            <a:off x="5715000" y="2257063"/>
            <a:ext cx="868101" cy="0"/>
          </a:xfrm>
          <a:prstGeom prst="straightConnector1">
            <a:avLst/>
          </a:prstGeom>
          <a:ln w="63500">
            <a:solidFill>
              <a:srgbClr val="C8191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ep 53">
            <a:extLst>
              <a:ext uri="{FF2B5EF4-FFF2-40B4-BE49-F238E27FC236}">
                <a16:creationId xmlns:a16="http://schemas.microsoft.com/office/drawing/2014/main" id="{BE315D67-0ACB-4FC5-82A8-D4B48C1716A7}"/>
              </a:ext>
            </a:extLst>
          </p:cNvPr>
          <p:cNvGrpSpPr/>
          <p:nvPr/>
        </p:nvGrpSpPr>
        <p:grpSpPr>
          <a:xfrm>
            <a:off x="7105913" y="3256243"/>
            <a:ext cx="3489192" cy="368300"/>
            <a:chOff x="874713" y="2875744"/>
            <a:chExt cx="3489192" cy="368300"/>
          </a:xfrm>
        </p:grpSpPr>
        <p:grpSp>
          <p:nvGrpSpPr>
            <p:cNvPr id="55" name="Group 12">
              <a:extLst>
                <a:ext uri="{FF2B5EF4-FFF2-40B4-BE49-F238E27FC236}">
                  <a16:creationId xmlns:a16="http://schemas.microsoft.com/office/drawing/2014/main" id="{47167540-9326-47CA-8273-5B62AA09E274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57" name="Oval 179">
                <a:extLst>
                  <a:ext uri="{FF2B5EF4-FFF2-40B4-BE49-F238E27FC236}">
                    <a16:creationId xmlns:a16="http://schemas.microsoft.com/office/drawing/2014/main" id="{8538A5FD-C8A7-4A78-8CEE-D9F503A32F54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188">
                <a:extLst>
                  <a:ext uri="{FF2B5EF4-FFF2-40B4-BE49-F238E27FC236}">
                    <a16:creationId xmlns:a16="http://schemas.microsoft.com/office/drawing/2014/main" id="{35105651-8164-4497-8B21-1739B0F7E366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6" name="TextBox 192">
              <a:extLst>
                <a:ext uri="{FF2B5EF4-FFF2-40B4-BE49-F238E27FC236}">
                  <a16:creationId xmlns:a16="http://schemas.microsoft.com/office/drawing/2014/main" id="{5017DE8F-05FA-45EB-89DB-4B0D400F01D3}"/>
                </a:ext>
              </a:extLst>
            </p:cNvPr>
            <p:cNvSpPr txBox="1"/>
            <p:nvPr/>
          </p:nvSpPr>
          <p:spPr>
            <a:xfrm>
              <a:off x="1713841" y="2952514"/>
              <a:ext cx="26500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nual logging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 </a:t>
              </a:r>
              <a:r>
                <a:rPr lang="en-US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ameBus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59" name="Groep 58">
            <a:extLst>
              <a:ext uri="{FF2B5EF4-FFF2-40B4-BE49-F238E27FC236}">
                <a16:creationId xmlns:a16="http://schemas.microsoft.com/office/drawing/2014/main" id="{78E270A4-BE2E-4AAC-817C-4DBE9DCF402E}"/>
              </a:ext>
            </a:extLst>
          </p:cNvPr>
          <p:cNvGrpSpPr/>
          <p:nvPr/>
        </p:nvGrpSpPr>
        <p:grpSpPr>
          <a:xfrm>
            <a:off x="7105913" y="2024222"/>
            <a:ext cx="3489192" cy="430887"/>
            <a:chOff x="874713" y="1826216"/>
            <a:chExt cx="3489192" cy="430887"/>
          </a:xfrm>
        </p:grpSpPr>
        <p:grpSp>
          <p:nvGrpSpPr>
            <p:cNvPr id="60" name="Group 13">
              <a:extLst>
                <a:ext uri="{FF2B5EF4-FFF2-40B4-BE49-F238E27FC236}">
                  <a16:creationId xmlns:a16="http://schemas.microsoft.com/office/drawing/2014/main" id="{94E41089-05DA-4302-9609-AB70FC1411F5}"/>
                </a:ext>
              </a:extLst>
            </p:cNvPr>
            <p:cNvGrpSpPr/>
            <p:nvPr/>
          </p:nvGrpSpPr>
          <p:grpSpPr>
            <a:xfrm>
              <a:off x="874713" y="1856027"/>
              <a:ext cx="487364" cy="368300"/>
              <a:chOff x="8102600" y="2039503"/>
              <a:chExt cx="487364" cy="368300"/>
            </a:xfrm>
          </p:grpSpPr>
          <p:sp>
            <p:nvSpPr>
              <p:cNvPr id="62" name="Oval 2">
                <a:extLst>
                  <a:ext uri="{FF2B5EF4-FFF2-40B4-BE49-F238E27FC236}">
                    <a16:creationId xmlns:a16="http://schemas.microsoft.com/office/drawing/2014/main" id="{28643EAC-5E22-4A58-8EAF-8EE94E543800}"/>
                  </a:ext>
                </a:extLst>
              </p:cNvPr>
              <p:cNvSpPr/>
              <p:nvPr/>
            </p:nvSpPr>
            <p:spPr>
              <a:xfrm>
                <a:off x="8102600" y="2039503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187">
                <a:extLst>
                  <a:ext uri="{FF2B5EF4-FFF2-40B4-BE49-F238E27FC236}">
                    <a16:creationId xmlns:a16="http://schemas.microsoft.com/office/drawing/2014/main" id="{6E7B0AD5-FFFC-48F2-A10D-E830B2B39170}"/>
                  </a:ext>
                </a:extLst>
              </p:cNvPr>
              <p:cNvSpPr/>
              <p:nvPr/>
            </p:nvSpPr>
            <p:spPr>
              <a:xfrm>
                <a:off x="8221664" y="2039503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1" name="TextBox 191">
              <a:extLst>
                <a:ext uri="{FF2B5EF4-FFF2-40B4-BE49-F238E27FC236}">
                  <a16:creationId xmlns:a16="http://schemas.microsoft.com/office/drawing/2014/main" id="{5B3E66E1-6087-49C4-99E1-9D7A50CD1371}"/>
                </a:ext>
              </a:extLst>
            </p:cNvPr>
            <p:cNvSpPr txBox="1"/>
            <p:nvPr/>
          </p:nvSpPr>
          <p:spPr>
            <a:xfrm>
              <a:off x="1713841" y="1826216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utomatic participation of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VC participants</a:t>
              </a:r>
              <a:endParaRPr lang="en-US" sz="1400" baseline="30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64" name="Groep 63">
            <a:extLst>
              <a:ext uri="{FF2B5EF4-FFF2-40B4-BE49-F238E27FC236}">
                <a16:creationId xmlns:a16="http://schemas.microsoft.com/office/drawing/2014/main" id="{47D5612C-44C0-467F-92E3-6F98956D844B}"/>
              </a:ext>
            </a:extLst>
          </p:cNvPr>
          <p:cNvGrpSpPr/>
          <p:nvPr/>
        </p:nvGrpSpPr>
        <p:grpSpPr>
          <a:xfrm>
            <a:off x="7105913" y="4465956"/>
            <a:ext cx="3489192" cy="368300"/>
            <a:chOff x="874713" y="3902964"/>
            <a:chExt cx="3489192" cy="368300"/>
          </a:xfrm>
        </p:grpSpPr>
        <p:grpSp>
          <p:nvGrpSpPr>
            <p:cNvPr id="65" name="Group 5">
              <a:extLst>
                <a:ext uri="{FF2B5EF4-FFF2-40B4-BE49-F238E27FC236}">
                  <a16:creationId xmlns:a16="http://schemas.microsoft.com/office/drawing/2014/main" id="{929918B1-F6E6-4CB3-AAED-9CFD350120ED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67" name="Oval 180">
                <a:extLst>
                  <a:ext uri="{FF2B5EF4-FFF2-40B4-BE49-F238E27FC236}">
                    <a16:creationId xmlns:a16="http://schemas.microsoft.com/office/drawing/2014/main" id="{CD9C11FD-8A71-403A-A390-D56622F3D138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189">
                <a:extLst>
                  <a:ext uri="{FF2B5EF4-FFF2-40B4-BE49-F238E27FC236}">
                    <a16:creationId xmlns:a16="http://schemas.microsoft.com/office/drawing/2014/main" id="{D7DAD031-85DB-440D-9002-2F6AFB8B0EE2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6" name="TextBox 193">
              <a:extLst>
                <a:ext uri="{FF2B5EF4-FFF2-40B4-BE49-F238E27FC236}">
                  <a16:creationId xmlns:a16="http://schemas.microsoft.com/office/drawing/2014/main" id="{356C0BDE-C527-49FF-9DD2-FADC1A7BED13}"/>
                </a:ext>
              </a:extLst>
            </p:cNvPr>
            <p:cNvSpPr txBox="1"/>
            <p:nvPr/>
          </p:nvSpPr>
          <p:spPr>
            <a:xfrm>
              <a:off x="1713841" y="3972923"/>
              <a:ext cx="26500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noyed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ith email frequency</a:t>
              </a:r>
            </a:p>
          </p:txBody>
        </p:sp>
      </p:grpSp>
      <p:sp>
        <p:nvSpPr>
          <p:cNvPr id="69" name="TextBox 191">
            <a:extLst>
              <a:ext uri="{FF2B5EF4-FFF2-40B4-BE49-F238E27FC236}">
                <a16:creationId xmlns:a16="http://schemas.microsoft.com/office/drawing/2014/main" id="{B379D349-781B-4D61-BC7C-BFF99BC82D90}"/>
              </a:ext>
            </a:extLst>
          </p:cNvPr>
          <p:cNvSpPr txBox="1"/>
          <p:nvPr/>
        </p:nvSpPr>
        <p:spPr>
          <a:xfrm>
            <a:off x="7945041" y="1438338"/>
            <a:ext cx="265006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asons</a:t>
            </a:r>
            <a:endParaRPr lang="en-US" sz="24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871576"/>
      </p:ext>
    </p:extLst>
  </p:cSld>
  <p:clrMapOvr>
    <a:masterClrMapping/>
  </p:clrMapOvr>
  <p:transition spd="slow">
    <p:push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9210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Future research</a:t>
            </a:r>
          </a:p>
        </p:txBody>
      </p:sp>
      <p:grpSp>
        <p:nvGrpSpPr>
          <p:cNvPr id="54" name="Groep 53">
            <a:extLst>
              <a:ext uri="{FF2B5EF4-FFF2-40B4-BE49-F238E27FC236}">
                <a16:creationId xmlns:a16="http://schemas.microsoft.com/office/drawing/2014/main" id="{BE315D67-0ACB-4FC5-82A8-D4B48C1716A7}"/>
              </a:ext>
            </a:extLst>
          </p:cNvPr>
          <p:cNvGrpSpPr/>
          <p:nvPr/>
        </p:nvGrpSpPr>
        <p:grpSpPr>
          <a:xfrm>
            <a:off x="1621186" y="3088820"/>
            <a:ext cx="5190160" cy="430887"/>
            <a:chOff x="874713" y="2875297"/>
            <a:chExt cx="5190160" cy="430887"/>
          </a:xfrm>
        </p:grpSpPr>
        <p:grpSp>
          <p:nvGrpSpPr>
            <p:cNvPr id="55" name="Group 12">
              <a:extLst>
                <a:ext uri="{FF2B5EF4-FFF2-40B4-BE49-F238E27FC236}">
                  <a16:creationId xmlns:a16="http://schemas.microsoft.com/office/drawing/2014/main" id="{47167540-9326-47CA-8273-5B62AA09E274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57" name="Oval 179">
                <a:extLst>
                  <a:ext uri="{FF2B5EF4-FFF2-40B4-BE49-F238E27FC236}">
                    <a16:creationId xmlns:a16="http://schemas.microsoft.com/office/drawing/2014/main" id="{8538A5FD-C8A7-4A78-8CEE-D9F503A32F54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188">
                <a:extLst>
                  <a:ext uri="{FF2B5EF4-FFF2-40B4-BE49-F238E27FC236}">
                    <a16:creationId xmlns:a16="http://schemas.microsoft.com/office/drawing/2014/main" id="{35105651-8164-4497-8B21-1739B0F7E366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6" name="TextBox 192">
              <a:extLst>
                <a:ext uri="{FF2B5EF4-FFF2-40B4-BE49-F238E27FC236}">
                  <a16:creationId xmlns:a16="http://schemas.microsoft.com/office/drawing/2014/main" id="{5017DE8F-05FA-45EB-89DB-4B0D400F01D3}"/>
                </a:ext>
              </a:extLst>
            </p:cNvPr>
            <p:cNvSpPr txBox="1"/>
            <p:nvPr/>
          </p:nvSpPr>
          <p:spPr>
            <a:xfrm>
              <a:off x="1713840" y="2875297"/>
              <a:ext cx="4351033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panded APMA to consider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re context variables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ike location, agenda etc.</a:t>
              </a:r>
            </a:p>
          </p:txBody>
        </p:sp>
      </p:grpSp>
      <p:grpSp>
        <p:nvGrpSpPr>
          <p:cNvPr id="59" name="Groep 58">
            <a:extLst>
              <a:ext uri="{FF2B5EF4-FFF2-40B4-BE49-F238E27FC236}">
                <a16:creationId xmlns:a16="http://schemas.microsoft.com/office/drawing/2014/main" id="{78E270A4-BE2E-4AAC-817C-4DBE9DCF402E}"/>
              </a:ext>
            </a:extLst>
          </p:cNvPr>
          <p:cNvGrpSpPr/>
          <p:nvPr/>
        </p:nvGrpSpPr>
        <p:grpSpPr>
          <a:xfrm>
            <a:off x="1621186" y="2024222"/>
            <a:ext cx="5498070" cy="430887"/>
            <a:chOff x="874713" y="1826216"/>
            <a:chExt cx="5498070" cy="430887"/>
          </a:xfrm>
        </p:grpSpPr>
        <p:grpSp>
          <p:nvGrpSpPr>
            <p:cNvPr id="60" name="Group 13">
              <a:extLst>
                <a:ext uri="{FF2B5EF4-FFF2-40B4-BE49-F238E27FC236}">
                  <a16:creationId xmlns:a16="http://schemas.microsoft.com/office/drawing/2014/main" id="{94E41089-05DA-4302-9609-AB70FC1411F5}"/>
                </a:ext>
              </a:extLst>
            </p:cNvPr>
            <p:cNvGrpSpPr/>
            <p:nvPr/>
          </p:nvGrpSpPr>
          <p:grpSpPr>
            <a:xfrm>
              <a:off x="874713" y="1856027"/>
              <a:ext cx="487364" cy="368300"/>
              <a:chOff x="8102600" y="2039503"/>
              <a:chExt cx="487364" cy="368300"/>
            </a:xfrm>
          </p:grpSpPr>
          <p:sp>
            <p:nvSpPr>
              <p:cNvPr id="62" name="Oval 2">
                <a:extLst>
                  <a:ext uri="{FF2B5EF4-FFF2-40B4-BE49-F238E27FC236}">
                    <a16:creationId xmlns:a16="http://schemas.microsoft.com/office/drawing/2014/main" id="{28643EAC-5E22-4A58-8EAF-8EE94E543800}"/>
                  </a:ext>
                </a:extLst>
              </p:cNvPr>
              <p:cNvSpPr/>
              <p:nvPr/>
            </p:nvSpPr>
            <p:spPr>
              <a:xfrm>
                <a:off x="8102600" y="2039503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187">
                <a:extLst>
                  <a:ext uri="{FF2B5EF4-FFF2-40B4-BE49-F238E27FC236}">
                    <a16:creationId xmlns:a16="http://schemas.microsoft.com/office/drawing/2014/main" id="{6E7B0AD5-FFFC-48F2-A10D-E830B2B39170}"/>
                  </a:ext>
                </a:extLst>
              </p:cNvPr>
              <p:cNvSpPr/>
              <p:nvPr/>
            </p:nvSpPr>
            <p:spPr>
              <a:xfrm>
                <a:off x="8221664" y="2039503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1" name="TextBox 191">
              <a:extLst>
                <a:ext uri="{FF2B5EF4-FFF2-40B4-BE49-F238E27FC236}">
                  <a16:creationId xmlns:a16="http://schemas.microsoft.com/office/drawing/2014/main" id="{5B3E66E1-6087-49C4-99E1-9D7A50CD1371}"/>
                </a:ext>
              </a:extLst>
            </p:cNvPr>
            <p:cNvSpPr txBox="1"/>
            <p:nvPr/>
          </p:nvSpPr>
          <p:spPr>
            <a:xfrm>
              <a:off x="1713840" y="1826216"/>
              <a:ext cx="4658943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valuation of adaptive persuasion in a complete intervention where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rsonalization of activitie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s also added</a:t>
              </a:r>
              <a:endParaRPr lang="en-US" sz="1400" baseline="30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64" name="Groep 63">
            <a:extLst>
              <a:ext uri="{FF2B5EF4-FFF2-40B4-BE49-F238E27FC236}">
                <a16:creationId xmlns:a16="http://schemas.microsoft.com/office/drawing/2014/main" id="{47D5612C-44C0-467F-92E3-6F98956D844B}"/>
              </a:ext>
            </a:extLst>
          </p:cNvPr>
          <p:cNvGrpSpPr/>
          <p:nvPr/>
        </p:nvGrpSpPr>
        <p:grpSpPr>
          <a:xfrm>
            <a:off x="1621186" y="4231082"/>
            <a:ext cx="5190160" cy="368300"/>
            <a:chOff x="874713" y="3902964"/>
            <a:chExt cx="5190160" cy="368300"/>
          </a:xfrm>
        </p:grpSpPr>
        <p:grpSp>
          <p:nvGrpSpPr>
            <p:cNvPr id="65" name="Group 5">
              <a:extLst>
                <a:ext uri="{FF2B5EF4-FFF2-40B4-BE49-F238E27FC236}">
                  <a16:creationId xmlns:a16="http://schemas.microsoft.com/office/drawing/2014/main" id="{929918B1-F6E6-4CB3-AAED-9CFD350120ED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67" name="Oval 180">
                <a:extLst>
                  <a:ext uri="{FF2B5EF4-FFF2-40B4-BE49-F238E27FC236}">
                    <a16:creationId xmlns:a16="http://schemas.microsoft.com/office/drawing/2014/main" id="{CD9C11FD-8A71-403A-A390-D56622F3D138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189">
                <a:extLst>
                  <a:ext uri="{FF2B5EF4-FFF2-40B4-BE49-F238E27FC236}">
                    <a16:creationId xmlns:a16="http://schemas.microsoft.com/office/drawing/2014/main" id="{D7DAD031-85DB-440D-9002-2F6AFB8B0EE2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6" name="TextBox 193">
              <a:extLst>
                <a:ext uri="{FF2B5EF4-FFF2-40B4-BE49-F238E27FC236}">
                  <a16:creationId xmlns:a16="http://schemas.microsoft.com/office/drawing/2014/main" id="{356C0BDE-C527-49FF-9DD2-FADC1A7BED13}"/>
                </a:ext>
              </a:extLst>
            </p:cNvPr>
            <p:cNvSpPr txBox="1"/>
            <p:nvPr/>
          </p:nvSpPr>
          <p:spPr>
            <a:xfrm>
              <a:off x="1713841" y="3972923"/>
              <a:ext cx="435103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ication of this research with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arger sample size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9" name="Groep 38">
            <a:extLst>
              <a:ext uri="{FF2B5EF4-FFF2-40B4-BE49-F238E27FC236}">
                <a16:creationId xmlns:a16="http://schemas.microsoft.com/office/drawing/2014/main" id="{FBFAB341-1AAA-4548-9086-FB9C7598D089}"/>
              </a:ext>
            </a:extLst>
          </p:cNvPr>
          <p:cNvGrpSpPr/>
          <p:nvPr/>
        </p:nvGrpSpPr>
        <p:grpSpPr>
          <a:xfrm>
            <a:off x="1621186" y="5233541"/>
            <a:ext cx="5190160" cy="430887"/>
            <a:chOff x="874713" y="3902964"/>
            <a:chExt cx="5190160" cy="430887"/>
          </a:xfrm>
        </p:grpSpPr>
        <p:grpSp>
          <p:nvGrpSpPr>
            <p:cNvPr id="45" name="Group 5">
              <a:extLst>
                <a:ext uri="{FF2B5EF4-FFF2-40B4-BE49-F238E27FC236}">
                  <a16:creationId xmlns:a16="http://schemas.microsoft.com/office/drawing/2014/main" id="{440CB075-6D44-4598-AE51-3FFB4F44FF00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70" name="Oval 180">
                <a:extLst>
                  <a:ext uri="{FF2B5EF4-FFF2-40B4-BE49-F238E27FC236}">
                    <a16:creationId xmlns:a16="http://schemas.microsoft.com/office/drawing/2014/main" id="{4BC073BE-DA2E-4BBB-B5EE-9E5C1F59B16E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189">
                <a:extLst>
                  <a:ext uri="{FF2B5EF4-FFF2-40B4-BE49-F238E27FC236}">
                    <a16:creationId xmlns:a16="http://schemas.microsoft.com/office/drawing/2014/main" id="{A88D32B8-AC3C-44BB-8370-B9ED9584F84E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9" name="TextBox 193">
              <a:extLst>
                <a:ext uri="{FF2B5EF4-FFF2-40B4-BE49-F238E27FC236}">
                  <a16:creationId xmlns:a16="http://schemas.microsoft.com/office/drawing/2014/main" id="{D31D9215-7623-46D4-8B4D-46EDA2BEB695}"/>
                </a:ext>
              </a:extLst>
            </p:cNvPr>
            <p:cNvSpPr txBox="1"/>
            <p:nvPr/>
          </p:nvSpPr>
          <p:spPr>
            <a:xfrm>
              <a:off x="1713841" y="3902964"/>
              <a:ext cx="435103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re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ve answer options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to get more insight into why people did not act on their feedback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4954862"/>
      </p:ext>
    </p:extLst>
  </p:cSld>
  <p:clrMapOvr>
    <a:masterClrMapping/>
  </p:clrMapOvr>
  <p:transition spd="slow">
    <p:push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7639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21881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Questions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0B80AC1D-8AA9-4D24-AF2F-7530A0F0F0B2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05" name="TextBox 6">
            <a:extLst>
              <a:ext uri="{FF2B5EF4-FFF2-40B4-BE49-F238E27FC236}">
                <a16:creationId xmlns:a16="http://schemas.microsoft.com/office/drawing/2014/main" id="{19186D43-7671-4278-99E6-35374B2B9C2E}"/>
              </a:ext>
            </a:extLst>
          </p:cNvPr>
          <p:cNvSpPr txBox="1"/>
          <p:nvPr/>
        </p:nvSpPr>
        <p:spPr>
          <a:xfrm>
            <a:off x="9210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Results significance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5768553B-88DF-471A-AF33-80A764A4EC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759" y="2168900"/>
            <a:ext cx="6593832" cy="2520199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F43FF4ED-2069-47D5-8CF9-6CB4D5DCC10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474"/>
          <a:stretch/>
        </p:blipFill>
        <p:spPr>
          <a:xfrm>
            <a:off x="7558831" y="4246752"/>
            <a:ext cx="4029611" cy="1739104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DE41DE57-3679-40A9-AEE2-F1EF34973E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8830" y="1303902"/>
            <a:ext cx="4029611" cy="2302635"/>
          </a:xfrm>
          <a:prstGeom prst="rect">
            <a:avLst/>
          </a:prstGeom>
        </p:spPr>
      </p:pic>
      <p:sp>
        <p:nvSpPr>
          <p:cNvPr id="17" name="Tekstvak 16">
            <a:extLst>
              <a:ext uri="{FF2B5EF4-FFF2-40B4-BE49-F238E27FC236}">
                <a16:creationId xmlns:a16="http://schemas.microsoft.com/office/drawing/2014/main" id="{B4A7A0C9-2727-4C10-BD89-06E307CE0FD5}"/>
              </a:ext>
            </a:extLst>
          </p:cNvPr>
          <p:cNvSpPr txBox="1"/>
          <p:nvPr/>
        </p:nvSpPr>
        <p:spPr>
          <a:xfrm>
            <a:off x="8922243" y="3479680"/>
            <a:ext cx="651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rgbClr val="818181"/>
                </a:solidFill>
              </a:rPr>
              <a:t>Week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5BBBBC88-FCA9-4BC9-A2E6-4783F1892442}"/>
              </a:ext>
            </a:extLst>
          </p:cNvPr>
          <p:cNvSpPr txBox="1"/>
          <p:nvPr/>
        </p:nvSpPr>
        <p:spPr>
          <a:xfrm>
            <a:off x="8922243" y="5819862"/>
            <a:ext cx="651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rgbClr val="818181"/>
                </a:solidFill>
              </a:rPr>
              <a:t>Week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1DD65F40-976E-4E0E-B3B0-3EADD685B070}"/>
              </a:ext>
            </a:extLst>
          </p:cNvPr>
          <p:cNvSpPr txBox="1"/>
          <p:nvPr/>
        </p:nvSpPr>
        <p:spPr>
          <a:xfrm rot="16200000">
            <a:off x="6307414" y="2130662"/>
            <a:ext cx="1892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>
                <a:solidFill>
                  <a:srgbClr val="818181"/>
                </a:solidFill>
              </a:rPr>
              <a:t>Message performance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A75AE6A2-AC4D-40D2-BD06-8AA2F7BB2581}"/>
              </a:ext>
            </a:extLst>
          </p:cNvPr>
          <p:cNvSpPr txBox="1"/>
          <p:nvPr/>
        </p:nvSpPr>
        <p:spPr>
          <a:xfrm rot="16200000">
            <a:off x="6421291" y="4833801"/>
            <a:ext cx="1664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 err="1">
                <a:solidFill>
                  <a:srgbClr val="818181"/>
                </a:solidFill>
              </a:rPr>
              <a:t>Performed</a:t>
            </a:r>
            <a:r>
              <a:rPr lang="nl-NL" sz="1400" dirty="0">
                <a:solidFill>
                  <a:srgbClr val="818181"/>
                </a:solidFill>
              </a:rPr>
              <a:t> </a:t>
            </a:r>
            <a:r>
              <a:rPr lang="nl-NL" sz="1400" dirty="0" err="1">
                <a:solidFill>
                  <a:srgbClr val="818181"/>
                </a:solidFill>
              </a:rPr>
              <a:t>activities</a:t>
            </a:r>
            <a:endParaRPr lang="en-NL" sz="1400" dirty="0">
              <a:solidFill>
                <a:srgbClr val="818181"/>
              </a:solidFill>
            </a:endParaRP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D026A62E-BFD4-4246-818C-A1E055CCF5AA}"/>
              </a:ext>
            </a:extLst>
          </p:cNvPr>
          <p:cNvSpPr txBox="1"/>
          <p:nvPr/>
        </p:nvSpPr>
        <p:spPr>
          <a:xfrm>
            <a:off x="8075587" y="1050950"/>
            <a:ext cx="2344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>
                <a:solidFill>
                  <a:srgbClr val="818181"/>
                </a:solidFill>
              </a:rPr>
              <a:t>Message Performance</a:t>
            </a:r>
            <a:endParaRPr lang="en-NL" b="1" dirty="0">
              <a:solidFill>
                <a:srgbClr val="818181"/>
              </a:solidFill>
            </a:endParaRPr>
          </a:p>
        </p:txBody>
      </p:sp>
      <p:sp>
        <p:nvSpPr>
          <p:cNvPr id="23" name="Tekstvak 22">
            <a:extLst>
              <a:ext uri="{FF2B5EF4-FFF2-40B4-BE49-F238E27FC236}">
                <a16:creationId xmlns:a16="http://schemas.microsoft.com/office/drawing/2014/main" id="{82CC62A5-FB11-478C-8AC3-45778E271F45}"/>
              </a:ext>
            </a:extLst>
          </p:cNvPr>
          <p:cNvSpPr txBox="1"/>
          <p:nvPr/>
        </p:nvSpPr>
        <p:spPr>
          <a:xfrm>
            <a:off x="8389155" y="3904443"/>
            <a:ext cx="1717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>
                <a:solidFill>
                  <a:srgbClr val="818181"/>
                </a:solidFill>
              </a:rPr>
              <a:t>Health Behavior</a:t>
            </a:r>
            <a:endParaRPr lang="en-NL" b="1" dirty="0">
              <a:solidFill>
                <a:srgbClr val="8181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138687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186589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Agend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74713" y="910465"/>
            <a:ext cx="282769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tructure of the presentati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60461" y="-937295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32" name="Straight Connector 15">
            <a:extLst>
              <a:ext uri="{FF2B5EF4-FFF2-40B4-BE49-F238E27FC236}">
                <a16:creationId xmlns:a16="http://schemas.microsoft.com/office/drawing/2014/main" id="{D184FCE3-F5B1-4405-8E8A-A4B30AE58AED}"/>
              </a:ext>
            </a:extLst>
          </p:cNvPr>
          <p:cNvCxnSpPr/>
          <p:nvPr/>
        </p:nvCxnSpPr>
        <p:spPr>
          <a:xfrm>
            <a:off x="1006078" y="3742307"/>
            <a:ext cx="1017984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7">
            <a:extLst>
              <a:ext uri="{FF2B5EF4-FFF2-40B4-BE49-F238E27FC236}">
                <a16:creationId xmlns:a16="http://schemas.microsoft.com/office/drawing/2014/main" id="{46A5B2BA-B351-4BE9-A210-1EBA3C2879DB}"/>
              </a:ext>
            </a:extLst>
          </p:cNvPr>
          <p:cNvSpPr/>
          <p:nvPr/>
        </p:nvSpPr>
        <p:spPr>
          <a:xfrm>
            <a:off x="874713" y="3606463"/>
            <a:ext cx="271688" cy="271688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8">
            <a:extLst>
              <a:ext uri="{FF2B5EF4-FFF2-40B4-BE49-F238E27FC236}">
                <a16:creationId xmlns:a16="http://schemas.microsoft.com/office/drawing/2014/main" id="{B2B3D2E6-B79F-4BA2-B42B-66F53BEC8068}"/>
              </a:ext>
            </a:extLst>
          </p:cNvPr>
          <p:cNvSpPr/>
          <p:nvPr/>
        </p:nvSpPr>
        <p:spPr>
          <a:xfrm>
            <a:off x="2018393" y="3275582"/>
            <a:ext cx="933450" cy="933450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9">
            <a:extLst>
              <a:ext uri="{FF2B5EF4-FFF2-40B4-BE49-F238E27FC236}">
                <a16:creationId xmlns:a16="http://schemas.microsoft.com/office/drawing/2014/main" id="{CD087D6D-0B27-473C-B014-F768432C0271}"/>
              </a:ext>
            </a:extLst>
          </p:cNvPr>
          <p:cNvSpPr/>
          <p:nvPr/>
        </p:nvSpPr>
        <p:spPr>
          <a:xfrm>
            <a:off x="3823155" y="3275582"/>
            <a:ext cx="933450" cy="933450"/>
          </a:xfrm>
          <a:prstGeom prst="ellipse">
            <a:avLst/>
          </a:prstGeom>
          <a:solidFill>
            <a:srgbClr val="E5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10">
            <a:extLst>
              <a:ext uri="{FF2B5EF4-FFF2-40B4-BE49-F238E27FC236}">
                <a16:creationId xmlns:a16="http://schemas.microsoft.com/office/drawing/2014/main" id="{97290A68-31F3-48CE-9BD1-7D277108B3BD}"/>
              </a:ext>
            </a:extLst>
          </p:cNvPr>
          <p:cNvSpPr/>
          <p:nvPr/>
        </p:nvSpPr>
        <p:spPr>
          <a:xfrm>
            <a:off x="5629277" y="3275582"/>
            <a:ext cx="933450" cy="933450"/>
          </a:xfrm>
          <a:prstGeom prst="ellipse">
            <a:avLst/>
          </a:prstGeom>
          <a:solidFill>
            <a:srgbClr val="F088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11">
            <a:extLst>
              <a:ext uri="{FF2B5EF4-FFF2-40B4-BE49-F238E27FC236}">
                <a16:creationId xmlns:a16="http://schemas.microsoft.com/office/drawing/2014/main" id="{0E6FD3D9-929B-4D1E-97EA-AEECC4038FE2}"/>
              </a:ext>
            </a:extLst>
          </p:cNvPr>
          <p:cNvSpPr/>
          <p:nvPr/>
        </p:nvSpPr>
        <p:spPr>
          <a:xfrm>
            <a:off x="7437615" y="3275582"/>
            <a:ext cx="933450" cy="93345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12">
            <a:extLst>
              <a:ext uri="{FF2B5EF4-FFF2-40B4-BE49-F238E27FC236}">
                <a16:creationId xmlns:a16="http://schemas.microsoft.com/office/drawing/2014/main" id="{112EACFB-F034-417E-B34F-521374177E4D}"/>
              </a:ext>
            </a:extLst>
          </p:cNvPr>
          <p:cNvSpPr/>
          <p:nvPr/>
        </p:nvSpPr>
        <p:spPr>
          <a:xfrm>
            <a:off x="9240161" y="3275582"/>
            <a:ext cx="933450" cy="933450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13">
            <a:extLst>
              <a:ext uri="{FF2B5EF4-FFF2-40B4-BE49-F238E27FC236}">
                <a16:creationId xmlns:a16="http://schemas.microsoft.com/office/drawing/2014/main" id="{38E1B7BF-5F23-43F4-AD71-BB5C4FA78922}"/>
              </a:ext>
            </a:extLst>
          </p:cNvPr>
          <p:cNvSpPr/>
          <p:nvPr/>
        </p:nvSpPr>
        <p:spPr>
          <a:xfrm>
            <a:off x="11045600" y="3606463"/>
            <a:ext cx="271688" cy="271688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9" name="Group 73">
            <a:extLst>
              <a:ext uri="{FF2B5EF4-FFF2-40B4-BE49-F238E27FC236}">
                <a16:creationId xmlns:a16="http://schemas.microsoft.com/office/drawing/2014/main" id="{93F27047-3583-4553-B90A-D9338437A224}"/>
              </a:ext>
            </a:extLst>
          </p:cNvPr>
          <p:cNvGrpSpPr/>
          <p:nvPr/>
        </p:nvGrpSpPr>
        <p:grpSpPr>
          <a:xfrm>
            <a:off x="5914230" y="3561332"/>
            <a:ext cx="360363" cy="360363"/>
            <a:chOff x="9166226" y="3952875"/>
            <a:chExt cx="360363" cy="360363"/>
          </a:xfrm>
          <a:solidFill>
            <a:schemeClr val="bg1"/>
          </a:solidFill>
        </p:grpSpPr>
        <p:sp>
          <p:nvSpPr>
            <p:cNvPr id="90" name="Freeform 24">
              <a:extLst>
                <a:ext uri="{FF2B5EF4-FFF2-40B4-BE49-F238E27FC236}">
                  <a16:creationId xmlns:a16="http://schemas.microsoft.com/office/drawing/2014/main" id="{692783C9-5088-49E3-8284-F5B713E87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6226" y="4071938"/>
              <a:ext cx="360363" cy="241300"/>
            </a:xfrm>
            <a:custGeom>
              <a:avLst/>
              <a:gdLst>
                <a:gd name="T0" fmla="*/ 94 w 96"/>
                <a:gd name="T1" fmla="*/ 60 h 64"/>
                <a:gd name="T2" fmla="*/ 92 w 96"/>
                <a:gd name="T3" fmla="*/ 60 h 64"/>
                <a:gd name="T4" fmla="*/ 92 w 96"/>
                <a:gd name="T5" fmla="*/ 2 h 64"/>
                <a:gd name="T6" fmla="*/ 90 w 96"/>
                <a:gd name="T7" fmla="*/ 0 h 64"/>
                <a:gd name="T8" fmla="*/ 78 w 96"/>
                <a:gd name="T9" fmla="*/ 0 h 64"/>
                <a:gd name="T10" fmla="*/ 76 w 96"/>
                <a:gd name="T11" fmla="*/ 2 h 64"/>
                <a:gd name="T12" fmla="*/ 76 w 96"/>
                <a:gd name="T13" fmla="*/ 60 h 64"/>
                <a:gd name="T14" fmla="*/ 68 w 96"/>
                <a:gd name="T15" fmla="*/ 60 h 64"/>
                <a:gd name="T16" fmla="*/ 68 w 96"/>
                <a:gd name="T17" fmla="*/ 30 h 64"/>
                <a:gd name="T18" fmla="*/ 66 w 96"/>
                <a:gd name="T19" fmla="*/ 28 h 64"/>
                <a:gd name="T20" fmla="*/ 54 w 96"/>
                <a:gd name="T21" fmla="*/ 28 h 64"/>
                <a:gd name="T22" fmla="*/ 52 w 96"/>
                <a:gd name="T23" fmla="*/ 30 h 64"/>
                <a:gd name="T24" fmla="*/ 52 w 96"/>
                <a:gd name="T25" fmla="*/ 60 h 64"/>
                <a:gd name="T26" fmla="*/ 44 w 96"/>
                <a:gd name="T27" fmla="*/ 60 h 64"/>
                <a:gd name="T28" fmla="*/ 44 w 96"/>
                <a:gd name="T29" fmla="*/ 22 h 64"/>
                <a:gd name="T30" fmla="*/ 42 w 96"/>
                <a:gd name="T31" fmla="*/ 20 h 64"/>
                <a:gd name="T32" fmla="*/ 30 w 96"/>
                <a:gd name="T33" fmla="*/ 20 h 64"/>
                <a:gd name="T34" fmla="*/ 28 w 96"/>
                <a:gd name="T35" fmla="*/ 22 h 64"/>
                <a:gd name="T36" fmla="*/ 28 w 96"/>
                <a:gd name="T37" fmla="*/ 60 h 64"/>
                <a:gd name="T38" fmla="*/ 20 w 96"/>
                <a:gd name="T39" fmla="*/ 60 h 64"/>
                <a:gd name="T40" fmla="*/ 20 w 96"/>
                <a:gd name="T41" fmla="*/ 42 h 64"/>
                <a:gd name="T42" fmla="*/ 18 w 96"/>
                <a:gd name="T43" fmla="*/ 40 h 64"/>
                <a:gd name="T44" fmla="*/ 6 w 96"/>
                <a:gd name="T45" fmla="*/ 40 h 64"/>
                <a:gd name="T46" fmla="*/ 4 w 96"/>
                <a:gd name="T47" fmla="*/ 42 h 64"/>
                <a:gd name="T48" fmla="*/ 4 w 96"/>
                <a:gd name="T49" fmla="*/ 60 h 64"/>
                <a:gd name="T50" fmla="*/ 2 w 96"/>
                <a:gd name="T51" fmla="*/ 60 h 64"/>
                <a:gd name="T52" fmla="*/ 0 w 96"/>
                <a:gd name="T53" fmla="*/ 62 h 64"/>
                <a:gd name="T54" fmla="*/ 2 w 96"/>
                <a:gd name="T55" fmla="*/ 64 h 64"/>
                <a:gd name="T56" fmla="*/ 94 w 96"/>
                <a:gd name="T57" fmla="*/ 64 h 64"/>
                <a:gd name="T58" fmla="*/ 96 w 96"/>
                <a:gd name="T59" fmla="*/ 62 h 64"/>
                <a:gd name="T60" fmla="*/ 94 w 96"/>
                <a:gd name="T61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94" y="60"/>
                  </a:moveTo>
                  <a:cubicBezTo>
                    <a:pt x="92" y="60"/>
                    <a:pt x="92" y="60"/>
                    <a:pt x="92" y="60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6" y="1"/>
                    <a:pt x="76" y="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29"/>
                    <a:pt x="67" y="28"/>
                    <a:pt x="66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8"/>
                    <a:pt x="52" y="29"/>
                    <a:pt x="52" y="3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3" y="20"/>
                    <a:pt x="42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0"/>
                    <a:pt x="28" y="21"/>
                    <a:pt x="28" y="2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1"/>
                    <a:pt x="19" y="40"/>
                    <a:pt x="18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5" y="40"/>
                    <a:pt x="4" y="41"/>
                    <a:pt x="4" y="42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61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25">
              <a:extLst>
                <a:ext uri="{FF2B5EF4-FFF2-40B4-BE49-F238E27FC236}">
                  <a16:creationId xmlns:a16="http://schemas.microsoft.com/office/drawing/2014/main" id="{803ADBDF-7F92-4258-BB18-6E9F87F5A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51" y="3952875"/>
              <a:ext cx="315913" cy="195263"/>
            </a:xfrm>
            <a:custGeom>
              <a:avLst/>
              <a:gdLst>
                <a:gd name="T0" fmla="*/ 6 w 84"/>
                <a:gd name="T1" fmla="*/ 52 h 52"/>
                <a:gd name="T2" fmla="*/ 12 w 84"/>
                <a:gd name="T3" fmla="*/ 46 h 52"/>
                <a:gd name="T4" fmla="*/ 12 w 84"/>
                <a:gd name="T5" fmla="*/ 44 h 52"/>
                <a:gd name="T6" fmla="*/ 27 w 84"/>
                <a:gd name="T7" fmla="*/ 31 h 52"/>
                <a:gd name="T8" fmla="*/ 30 w 84"/>
                <a:gd name="T9" fmla="*/ 32 h 52"/>
                <a:gd name="T10" fmla="*/ 35 w 84"/>
                <a:gd name="T11" fmla="*/ 30 h 52"/>
                <a:gd name="T12" fmla="*/ 48 w 84"/>
                <a:gd name="T13" fmla="*/ 34 h 52"/>
                <a:gd name="T14" fmla="*/ 54 w 84"/>
                <a:gd name="T15" fmla="*/ 40 h 52"/>
                <a:gd name="T16" fmla="*/ 60 w 84"/>
                <a:gd name="T17" fmla="*/ 34 h 52"/>
                <a:gd name="T18" fmla="*/ 59 w 84"/>
                <a:gd name="T19" fmla="*/ 31 h 52"/>
                <a:gd name="T20" fmla="*/ 76 w 84"/>
                <a:gd name="T21" fmla="*/ 12 h 52"/>
                <a:gd name="T22" fmla="*/ 78 w 84"/>
                <a:gd name="T23" fmla="*/ 12 h 52"/>
                <a:gd name="T24" fmla="*/ 84 w 84"/>
                <a:gd name="T25" fmla="*/ 6 h 52"/>
                <a:gd name="T26" fmla="*/ 78 w 84"/>
                <a:gd name="T27" fmla="*/ 0 h 52"/>
                <a:gd name="T28" fmla="*/ 72 w 84"/>
                <a:gd name="T29" fmla="*/ 6 h 52"/>
                <a:gd name="T30" fmla="*/ 73 w 84"/>
                <a:gd name="T31" fmla="*/ 9 h 52"/>
                <a:gd name="T32" fmla="*/ 56 w 84"/>
                <a:gd name="T33" fmla="*/ 28 h 52"/>
                <a:gd name="T34" fmla="*/ 54 w 84"/>
                <a:gd name="T35" fmla="*/ 28 h 52"/>
                <a:gd name="T36" fmla="*/ 49 w 84"/>
                <a:gd name="T37" fmla="*/ 30 h 52"/>
                <a:gd name="T38" fmla="*/ 36 w 84"/>
                <a:gd name="T39" fmla="*/ 26 h 52"/>
                <a:gd name="T40" fmla="*/ 30 w 84"/>
                <a:gd name="T41" fmla="*/ 20 h 52"/>
                <a:gd name="T42" fmla="*/ 24 w 84"/>
                <a:gd name="T43" fmla="*/ 26 h 52"/>
                <a:gd name="T44" fmla="*/ 24 w 84"/>
                <a:gd name="T45" fmla="*/ 28 h 52"/>
                <a:gd name="T46" fmla="*/ 9 w 84"/>
                <a:gd name="T47" fmla="*/ 41 h 52"/>
                <a:gd name="T48" fmla="*/ 6 w 84"/>
                <a:gd name="T49" fmla="*/ 40 h 52"/>
                <a:gd name="T50" fmla="*/ 0 w 84"/>
                <a:gd name="T51" fmla="*/ 46 h 52"/>
                <a:gd name="T52" fmla="*/ 6 w 84"/>
                <a:gd name="T5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52">
                  <a:moveTo>
                    <a:pt x="6" y="52"/>
                  </a:moveTo>
                  <a:cubicBezTo>
                    <a:pt x="9" y="52"/>
                    <a:pt x="12" y="49"/>
                    <a:pt x="12" y="46"/>
                  </a:cubicBezTo>
                  <a:cubicBezTo>
                    <a:pt x="12" y="45"/>
                    <a:pt x="12" y="45"/>
                    <a:pt x="12" y="44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8" y="32"/>
                    <a:pt x="29" y="32"/>
                    <a:pt x="30" y="32"/>
                  </a:cubicBezTo>
                  <a:cubicBezTo>
                    <a:pt x="32" y="32"/>
                    <a:pt x="34" y="31"/>
                    <a:pt x="35" y="30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7"/>
                    <a:pt x="51" y="40"/>
                    <a:pt x="54" y="40"/>
                  </a:cubicBezTo>
                  <a:cubicBezTo>
                    <a:pt x="57" y="40"/>
                    <a:pt x="60" y="37"/>
                    <a:pt x="60" y="34"/>
                  </a:cubicBezTo>
                  <a:cubicBezTo>
                    <a:pt x="60" y="33"/>
                    <a:pt x="60" y="32"/>
                    <a:pt x="59" y="31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7" y="12"/>
                    <a:pt x="77" y="12"/>
                    <a:pt x="78" y="12"/>
                  </a:cubicBezTo>
                  <a:cubicBezTo>
                    <a:pt x="81" y="12"/>
                    <a:pt x="84" y="9"/>
                    <a:pt x="84" y="6"/>
                  </a:cubicBezTo>
                  <a:cubicBezTo>
                    <a:pt x="84" y="3"/>
                    <a:pt x="81" y="0"/>
                    <a:pt x="78" y="0"/>
                  </a:cubicBezTo>
                  <a:cubicBezTo>
                    <a:pt x="75" y="0"/>
                    <a:pt x="72" y="3"/>
                    <a:pt x="72" y="6"/>
                  </a:cubicBezTo>
                  <a:cubicBezTo>
                    <a:pt x="72" y="7"/>
                    <a:pt x="72" y="8"/>
                    <a:pt x="73" y="9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5" y="28"/>
                    <a:pt x="55" y="28"/>
                    <a:pt x="54" y="28"/>
                  </a:cubicBezTo>
                  <a:cubicBezTo>
                    <a:pt x="52" y="28"/>
                    <a:pt x="50" y="29"/>
                    <a:pt x="49" y="30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3"/>
                    <a:pt x="33" y="20"/>
                    <a:pt x="30" y="20"/>
                  </a:cubicBezTo>
                  <a:cubicBezTo>
                    <a:pt x="27" y="20"/>
                    <a:pt x="24" y="23"/>
                    <a:pt x="24" y="26"/>
                  </a:cubicBezTo>
                  <a:cubicBezTo>
                    <a:pt x="24" y="27"/>
                    <a:pt x="24" y="27"/>
                    <a:pt x="24" y="28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8" y="40"/>
                    <a:pt x="7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49"/>
                    <a:pt x="3" y="52"/>
                    <a:pt x="6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97D527FC-99ED-4608-9A9A-8F76167828DA}"/>
              </a:ext>
            </a:extLst>
          </p:cNvPr>
          <p:cNvGrpSpPr/>
          <p:nvPr/>
        </p:nvGrpSpPr>
        <p:grpSpPr>
          <a:xfrm rot="10800000">
            <a:off x="3692980" y="3145914"/>
            <a:ext cx="1193802" cy="1835151"/>
            <a:chOff x="3693206" y="2716754"/>
            <a:chExt cx="1193802" cy="1835151"/>
          </a:xfrm>
        </p:grpSpPr>
        <p:sp>
          <p:nvSpPr>
            <p:cNvPr id="57" name="Arc 34">
              <a:extLst>
                <a:ext uri="{FF2B5EF4-FFF2-40B4-BE49-F238E27FC236}">
                  <a16:creationId xmlns:a16="http://schemas.microsoft.com/office/drawing/2014/main" id="{5F3DDB42-4333-470A-A2CC-35F8AE431A86}"/>
                </a:ext>
              </a:extLst>
            </p:cNvPr>
            <p:cNvSpPr/>
            <p:nvPr/>
          </p:nvSpPr>
          <p:spPr>
            <a:xfrm flipV="1">
              <a:off x="3693206" y="3358103"/>
              <a:ext cx="1193802" cy="1193802"/>
            </a:xfrm>
            <a:prstGeom prst="arc">
              <a:avLst>
                <a:gd name="adj1" fmla="val 9907"/>
                <a:gd name="adj2" fmla="val 10780622"/>
              </a:avLst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8" name="Straight Connector 35">
              <a:extLst>
                <a:ext uri="{FF2B5EF4-FFF2-40B4-BE49-F238E27FC236}">
                  <a16:creationId xmlns:a16="http://schemas.microsoft.com/office/drawing/2014/main" id="{5717BFD3-7EC5-4B62-A57F-720ADC8220C5}"/>
                </a:ext>
              </a:extLst>
            </p:cNvPr>
            <p:cNvCxnSpPr/>
            <p:nvPr/>
          </p:nvCxnSpPr>
          <p:spPr>
            <a:xfrm flipV="1">
              <a:off x="4291014" y="2716754"/>
              <a:ext cx="0" cy="641349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headEnd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TextBox 25">
            <a:extLst>
              <a:ext uri="{FF2B5EF4-FFF2-40B4-BE49-F238E27FC236}">
                <a16:creationId xmlns:a16="http://schemas.microsoft.com/office/drawing/2014/main" id="{9441233D-229D-4B05-9889-81BF50379F4E}"/>
              </a:ext>
            </a:extLst>
          </p:cNvPr>
          <p:cNvSpPr txBox="1"/>
          <p:nvPr/>
        </p:nvSpPr>
        <p:spPr>
          <a:xfrm>
            <a:off x="3620370" y="5111402"/>
            <a:ext cx="1337203" cy="2119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Calibri Light" panose="020F0302020204030204" pitchFamily="34" charset="0"/>
              </a:rPr>
              <a:t>Methods</a:t>
            </a:r>
          </a:p>
        </p:txBody>
      </p:sp>
      <p:sp>
        <p:nvSpPr>
          <p:cNvPr id="94" name="Arc 34">
            <a:extLst>
              <a:ext uri="{FF2B5EF4-FFF2-40B4-BE49-F238E27FC236}">
                <a16:creationId xmlns:a16="http://schemas.microsoft.com/office/drawing/2014/main" id="{8F40A41E-72BC-4E94-A3FF-BE2F0876B6F0}"/>
              </a:ext>
            </a:extLst>
          </p:cNvPr>
          <p:cNvSpPr/>
          <p:nvPr/>
        </p:nvSpPr>
        <p:spPr>
          <a:xfrm flipV="1">
            <a:off x="1889756" y="3149576"/>
            <a:ext cx="1193802" cy="1193802"/>
          </a:xfrm>
          <a:prstGeom prst="arc">
            <a:avLst>
              <a:gd name="adj1" fmla="val 9907"/>
              <a:gd name="adj2" fmla="val 10780622"/>
            </a:avLst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5" name="Straight Connector 35">
            <a:extLst>
              <a:ext uri="{FF2B5EF4-FFF2-40B4-BE49-F238E27FC236}">
                <a16:creationId xmlns:a16="http://schemas.microsoft.com/office/drawing/2014/main" id="{A09E7E26-CB93-49A6-BB68-53DDBADB25D2}"/>
              </a:ext>
            </a:extLst>
          </p:cNvPr>
          <p:cNvCxnSpPr/>
          <p:nvPr/>
        </p:nvCxnSpPr>
        <p:spPr>
          <a:xfrm flipV="1">
            <a:off x="2487564" y="2508227"/>
            <a:ext cx="0" cy="64134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25">
            <a:extLst>
              <a:ext uri="{FF2B5EF4-FFF2-40B4-BE49-F238E27FC236}">
                <a16:creationId xmlns:a16="http://schemas.microsoft.com/office/drawing/2014/main" id="{35ED5019-0A5C-4F25-8576-0EEB1405B8DC}"/>
              </a:ext>
            </a:extLst>
          </p:cNvPr>
          <p:cNvSpPr txBox="1"/>
          <p:nvPr/>
        </p:nvSpPr>
        <p:spPr>
          <a:xfrm>
            <a:off x="1787088" y="2180851"/>
            <a:ext cx="1396059" cy="2119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Calibri Light" panose="020F0302020204030204" pitchFamily="34" charset="0"/>
              </a:rPr>
              <a:t>Background</a:t>
            </a:r>
          </a:p>
        </p:txBody>
      </p:sp>
      <p:grpSp>
        <p:nvGrpSpPr>
          <p:cNvPr id="97" name="Groep 96">
            <a:extLst>
              <a:ext uri="{FF2B5EF4-FFF2-40B4-BE49-F238E27FC236}">
                <a16:creationId xmlns:a16="http://schemas.microsoft.com/office/drawing/2014/main" id="{0748C64F-D6F5-4D96-A66B-931256E800DA}"/>
              </a:ext>
            </a:extLst>
          </p:cNvPr>
          <p:cNvGrpSpPr/>
          <p:nvPr/>
        </p:nvGrpSpPr>
        <p:grpSpPr>
          <a:xfrm>
            <a:off x="5425811" y="2172273"/>
            <a:ext cx="1337203" cy="2171105"/>
            <a:chOff x="3620371" y="1937240"/>
            <a:chExt cx="1337203" cy="2171105"/>
          </a:xfrm>
        </p:grpSpPr>
        <p:sp>
          <p:nvSpPr>
            <p:cNvPr id="98" name="Arc 34">
              <a:extLst>
                <a:ext uri="{FF2B5EF4-FFF2-40B4-BE49-F238E27FC236}">
                  <a16:creationId xmlns:a16="http://schemas.microsoft.com/office/drawing/2014/main" id="{8AC64B96-93C4-4162-975E-68FA97D0F4A0}"/>
                </a:ext>
              </a:extLst>
            </p:cNvPr>
            <p:cNvSpPr/>
            <p:nvPr/>
          </p:nvSpPr>
          <p:spPr>
            <a:xfrm flipV="1">
              <a:off x="3693206" y="2914543"/>
              <a:ext cx="1193802" cy="1193802"/>
            </a:xfrm>
            <a:prstGeom prst="arc">
              <a:avLst>
                <a:gd name="adj1" fmla="val 9907"/>
                <a:gd name="adj2" fmla="val 10780622"/>
              </a:avLst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9" name="Straight Connector 35">
              <a:extLst>
                <a:ext uri="{FF2B5EF4-FFF2-40B4-BE49-F238E27FC236}">
                  <a16:creationId xmlns:a16="http://schemas.microsoft.com/office/drawing/2014/main" id="{8EBC39C8-41F3-49DF-A61D-AAD5FA0BD606}"/>
                </a:ext>
              </a:extLst>
            </p:cNvPr>
            <p:cNvCxnSpPr/>
            <p:nvPr/>
          </p:nvCxnSpPr>
          <p:spPr>
            <a:xfrm flipV="1">
              <a:off x="4291014" y="2273194"/>
              <a:ext cx="0" cy="641349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headEnd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TextBox 25">
              <a:extLst>
                <a:ext uri="{FF2B5EF4-FFF2-40B4-BE49-F238E27FC236}">
                  <a16:creationId xmlns:a16="http://schemas.microsoft.com/office/drawing/2014/main" id="{E4AA6F3E-53C0-4E55-8293-755852126586}"/>
                </a:ext>
              </a:extLst>
            </p:cNvPr>
            <p:cNvSpPr txBox="1"/>
            <p:nvPr/>
          </p:nvSpPr>
          <p:spPr>
            <a:xfrm>
              <a:off x="3620371" y="1937240"/>
              <a:ext cx="1337203" cy="2119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rPr>
                <a:t>Results</a:t>
              </a: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04" name="TextBox 25">
            <a:extLst>
              <a:ext uri="{FF2B5EF4-FFF2-40B4-BE49-F238E27FC236}">
                <a16:creationId xmlns:a16="http://schemas.microsoft.com/office/drawing/2014/main" id="{B04C482B-5F39-4758-802E-DC8FA674D5C9}"/>
              </a:ext>
            </a:extLst>
          </p:cNvPr>
          <p:cNvSpPr txBox="1"/>
          <p:nvPr/>
        </p:nvSpPr>
        <p:spPr>
          <a:xfrm>
            <a:off x="7234426" y="5111402"/>
            <a:ext cx="1337203" cy="2119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Calibri Light" panose="020F0302020204030204" pitchFamily="34" charset="0"/>
              </a:rPr>
              <a:t>Conclusions</a:t>
            </a:r>
          </a:p>
        </p:txBody>
      </p:sp>
      <p:grpSp>
        <p:nvGrpSpPr>
          <p:cNvPr id="105" name="Groep 104">
            <a:extLst>
              <a:ext uri="{FF2B5EF4-FFF2-40B4-BE49-F238E27FC236}">
                <a16:creationId xmlns:a16="http://schemas.microsoft.com/office/drawing/2014/main" id="{DA8FF72E-06E3-4ADC-89C0-94762F4565A4}"/>
              </a:ext>
            </a:extLst>
          </p:cNvPr>
          <p:cNvGrpSpPr/>
          <p:nvPr/>
        </p:nvGrpSpPr>
        <p:grpSpPr>
          <a:xfrm>
            <a:off x="9041222" y="2172273"/>
            <a:ext cx="1337203" cy="2171105"/>
            <a:chOff x="3620371" y="1937240"/>
            <a:chExt cx="1337203" cy="2171105"/>
          </a:xfrm>
        </p:grpSpPr>
        <p:sp>
          <p:nvSpPr>
            <p:cNvPr id="106" name="Arc 34">
              <a:extLst>
                <a:ext uri="{FF2B5EF4-FFF2-40B4-BE49-F238E27FC236}">
                  <a16:creationId xmlns:a16="http://schemas.microsoft.com/office/drawing/2014/main" id="{5CDD076A-4AD9-480D-B55D-5A27648F9DE4}"/>
                </a:ext>
              </a:extLst>
            </p:cNvPr>
            <p:cNvSpPr/>
            <p:nvPr/>
          </p:nvSpPr>
          <p:spPr>
            <a:xfrm flipV="1">
              <a:off x="3693206" y="2914543"/>
              <a:ext cx="1193802" cy="1193802"/>
            </a:xfrm>
            <a:prstGeom prst="arc">
              <a:avLst>
                <a:gd name="adj1" fmla="val 9907"/>
                <a:gd name="adj2" fmla="val 10780622"/>
              </a:avLst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7" name="Straight Connector 35">
              <a:extLst>
                <a:ext uri="{FF2B5EF4-FFF2-40B4-BE49-F238E27FC236}">
                  <a16:creationId xmlns:a16="http://schemas.microsoft.com/office/drawing/2014/main" id="{0D087206-E208-42CB-8ACC-94FC93E6A636}"/>
                </a:ext>
              </a:extLst>
            </p:cNvPr>
            <p:cNvCxnSpPr/>
            <p:nvPr/>
          </p:nvCxnSpPr>
          <p:spPr>
            <a:xfrm flipV="1">
              <a:off x="4291014" y="2273194"/>
              <a:ext cx="0" cy="641349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headEnd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25">
              <a:extLst>
                <a:ext uri="{FF2B5EF4-FFF2-40B4-BE49-F238E27FC236}">
                  <a16:creationId xmlns:a16="http://schemas.microsoft.com/office/drawing/2014/main" id="{1CDF5B8D-331C-4318-98CB-3D2C11C66B3A}"/>
                </a:ext>
              </a:extLst>
            </p:cNvPr>
            <p:cNvSpPr txBox="1"/>
            <p:nvPr/>
          </p:nvSpPr>
          <p:spPr>
            <a:xfrm>
              <a:off x="3620371" y="1937240"/>
              <a:ext cx="1337203" cy="2119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Calibri Light" panose="020F0302020204030204" pitchFamily="34" charset="0"/>
                </a:rPr>
                <a:t>Discussion</a:t>
              </a: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Calibri Light" panose="020F0302020204030204" pitchFamily="34" charset="0"/>
              </a:endParaRPr>
            </a:p>
          </p:txBody>
        </p:sp>
      </p:grpSp>
      <p:sp>
        <p:nvSpPr>
          <p:cNvPr id="109" name="TextBox 36">
            <a:extLst>
              <a:ext uri="{FF2B5EF4-FFF2-40B4-BE49-F238E27FC236}">
                <a16:creationId xmlns:a16="http://schemas.microsoft.com/office/drawing/2014/main" id="{80134D2A-309D-4551-837F-21457EBA25AD}"/>
              </a:ext>
            </a:extLst>
          </p:cNvPr>
          <p:cNvSpPr txBox="1"/>
          <p:nvPr/>
        </p:nvSpPr>
        <p:spPr>
          <a:xfrm>
            <a:off x="1272505" y="3528188"/>
            <a:ext cx="587731" cy="183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 min</a:t>
            </a:r>
          </a:p>
        </p:txBody>
      </p:sp>
      <p:sp>
        <p:nvSpPr>
          <p:cNvPr id="110" name="TextBox 36">
            <a:extLst>
              <a:ext uri="{FF2B5EF4-FFF2-40B4-BE49-F238E27FC236}">
                <a16:creationId xmlns:a16="http://schemas.microsoft.com/office/drawing/2014/main" id="{3AADC9DE-BA32-49BA-863F-E6D09EE5717A}"/>
              </a:ext>
            </a:extLst>
          </p:cNvPr>
          <p:cNvSpPr txBox="1"/>
          <p:nvPr/>
        </p:nvSpPr>
        <p:spPr>
          <a:xfrm>
            <a:off x="3127240" y="3525675"/>
            <a:ext cx="587731" cy="183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-8 min</a:t>
            </a:r>
          </a:p>
        </p:txBody>
      </p:sp>
      <p:sp>
        <p:nvSpPr>
          <p:cNvPr id="111" name="TextBox 36">
            <a:extLst>
              <a:ext uri="{FF2B5EF4-FFF2-40B4-BE49-F238E27FC236}">
                <a16:creationId xmlns:a16="http://schemas.microsoft.com/office/drawing/2014/main" id="{C08F5720-2486-4E12-899D-303D38A6D602}"/>
              </a:ext>
            </a:extLst>
          </p:cNvPr>
          <p:cNvSpPr txBox="1"/>
          <p:nvPr/>
        </p:nvSpPr>
        <p:spPr>
          <a:xfrm>
            <a:off x="4891536" y="3518508"/>
            <a:ext cx="587731" cy="183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-6 min</a:t>
            </a:r>
          </a:p>
        </p:txBody>
      </p:sp>
      <p:sp>
        <p:nvSpPr>
          <p:cNvPr id="112" name="TextBox 36">
            <a:extLst>
              <a:ext uri="{FF2B5EF4-FFF2-40B4-BE49-F238E27FC236}">
                <a16:creationId xmlns:a16="http://schemas.microsoft.com/office/drawing/2014/main" id="{E8D90580-BA6A-4449-9D49-9CF37C45DD2D}"/>
              </a:ext>
            </a:extLst>
          </p:cNvPr>
          <p:cNvSpPr txBox="1"/>
          <p:nvPr/>
        </p:nvSpPr>
        <p:spPr>
          <a:xfrm>
            <a:off x="6703837" y="3529055"/>
            <a:ext cx="587731" cy="183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-2 min</a:t>
            </a:r>
          </a:p>
        </p:txBody>
      </p:sp>
      <p:sp>
        <p:nvSpPr>
          <p:cNvPr id="113" name="TextBox 36">
            <a:extLst>
              <a:ext uri="{FF2B5EF4-FFF2-40B4-BE49-F238E27FC236}">
                <a16:creationId xmlns:a16="http://schemas.microsoft.com/office/drawing/2014/main" id="{B50F4C7E-12FE-411D-9DE4-5EA6035F193D}"/>
              </a:ext>
            </a:extLst>
          </p:cNvPr>
          <p:cNvSpPr txBox="1"/>
          <p:nvPr/>
        </p:nvSpPr>
        <p:spPr>
          <a:xfrm>
            <a:off x="8550853" y="3518508"/>
            <a:ext cx="587731" cy="183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-2 min</a:t>
            </a:r>
          </a:p>
        </p:txBody>
      </p:sp>
      <p:sp>
        <p:nvSpPr>
          <p:cNvPr id="114" name="TextBox 36">
            <a:extLst>
              <a:ext uri="{FF2B5EF4-FFF2-40B4-BE49-F238E27FC236}">
                <a16:creationId xmlns:a16="http://schemas.microsoft.com/office/drawing/2014/main" id="{01FEE3A4-BD50-403F-8D31-273F9B309AE7}"/>
              </a:ext>
            </a:extLst>
          </p:cNvPr>
          <p:cNvSpPr txBox="1"/>
          <p:nvPr/>
        </p:nvSpPr>
        <p:spPr>
          <a:xfrm>
            <a:off x="10381398" y="3520940"/>
            <a:ext cx="587731" cy="183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~ 5 min</a:t>
            </a:r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60F02EBA-4122-4934-98BF-15F5435DB52D}"/>
              </a:ext>
            </a:extLst>
          </p:cNvPr>
          <p:cNvSpPr/>
          <p:nvPr/>
        </p:nvSpPr>
        <p:spPr>
          <a:xfrm>
            <a:off x="2288646" y="3532047"/>
            <a:ext cx="392944" cy="42052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18" name="Rechthoek 117">
            <a:extLst>
              <a:ext uri="{FF2B5EF4-FFF2-40B4-BE49-F238E27FC236}">
                <a16:creationId xmlns:a16="http://schemas.microsoft.com/office/drawing/2014/main" id="{8B32F099-2ACA-4C40-A24E-56BA40AFD190}"/>
              </a:ext>
            </a:extLst>
          </p:cNvPr>
          <p:cNvSpPr/>
          <p:nvPr/>
        </p:nvSpPr>
        <p:spPr>
          <a:xfrm>
            <a:off x="4092500" y="3525675"/>
            <a:ext cx="392944" cy="42052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19" name="Rechthoek 118">
            <a:extLst>
              <a:ext uri="{FF2B5EF4-FFF2-40B4-BE49-F238E27FC236}">
                <a16:creationId xmlns:a16="http://schemas.microsoft.com/office/drawing/2014/main" id="{C2B70E04-4A3E-4C95-9E56-20F60505FF26}"/>
              </a:ext>
            </a:extLst>
          </p:cNvPr>
          <p:cNvSpPr/>
          <p:nvPr/>
        </p:nvSpPr>
        <p:spPr>
          <a:xfrm>
            <a:off x="7673371" y="3461019"/>
            <a:ext cx="459314" cy="491549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0" name="Rechthoek 119">
            <a:extLst>
              <a:ext uri="{FF2B5EF4-FFF2-40B4-BE49-F238E27FC236}">
                <a16:creationId xmlns:a16="http://schemas.microsoft.com/office/drawing/2014/main" id="{B5F4F278-F3E1-4BB4-BE45-A510B099EA29}"/>
              </a:ext>
            </a:extLst>
          </p:cNvPr>
          <p:cNvSpPr/>
          <p:nvPr/>
        </p:nvSpPr>
        <p:spPr>
          <a:xfrm>
            <a:off x="9510414" y="3532047"/>
            <a:ext cx="392944" cy="420521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21" name="Groep 120">
            <a:extLst>
              <a:ext uri="{FF2B5EF4-FFF2-40B4-BE49-F238E27FC236}">
                <a16:creationId xmlns:a16="http://schemas.microsoft.com/office/drawing/2014/main" id="{A62125D3-E2BF-4961-A1B5-76590438D308}"/>
              </a:ext>
            </a:extLst>
          </p:cNvPr>
          <p:cNvGrpSpPr/>
          <p:nvPr/>
        </p:nvGrpSpPr>
        <p:grpSpPr>
          <a:xfrm rot="10800000">
            <a:off x="7307439" y="3145914"/>
            <a:ext cx="1193802" cy="1835151"/>
            <a:chOff x="3693206" y="2716754"/>
            <a:chExt cx="1193802" cy="1835151"/>
          </a:xfrm>
        </p:grpSpPr>
        <p:sp>
          <p:nvSpPr>
            <p:cNvPr id="122" name="Arc 34">
              <a:extLst>
                <a:ext uri="{FF2B5EF4-FFF2-40B4-BE49-F238E27FC236}">
                  <a16:creationId xmlns:a16="http://schemas.microsoft.com/office/drawing/2014/main" id="{02CBD1AB-B322-4F9E-9E72-2E0F02C15B26}"/>
                </a:ext>
              </a:extLst>
            </p:cNvPr>
            <p:cNvSpPr/>
            <p:nvPr/>
          </p:nvSpPr>
          <p:spPr>
            <a:xfrm flipV="1">
              <a:off x="3693206" y="3358103"/>
              <a:ext cx="1193802" cy="1193802"/>
            </a:xfrm>
            <a:prstGeom prst="arc">
              <a:avLst>
                <a:gd name="adj1" fmla="val 9907"/>
                <a:gd name="adj2" fmla="val 10780622"/>
              </a:avLst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3" name="Straight Connector 35">
              <a:extLst>
                <a:ext uri="{FF2B5EF4-FFF2-40B4-BE49-F238E27FC236}">
                  <a16:creationId xmlns:a16="http://schemas.microsoft.com/office/drawing/2014/main" id="{7E476F70-CB3D-4493-8122-CD57264A7506}"/>
                </a:ext>
              </a:extLst>
            </p:cNvPr>
            <p:cNvCxnSpPr/>
            <p:nvPr/>
          </p:nvCxnSpPr>
          <p:spPr>
            <a:xfrm flipV="1">
              <a:off x="4291014" y="2716754"/>
              <a:ext cx="0" cy="641349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headEnd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0909282"/>
      </p:ext>
    </p:extLst>
  </p:cSld>
  <p:clrMapOvr>
    <a:masterClrMapping/>
  </p:clrMapOvr>
  <p:transition spd="med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274113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Backgroun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9" name="Freeform 5">
            <a:extLst>
              <a:ext uri="{FF2B5EF4-FFF2-40B4-BE49-F238E27FC236}">
                <a16:creationId xmlns:a16="http://schemas.microsoft.com/office/drawing/2014/main" id="{C48AC00C-7B3C-466D-A093-ADD234554857}"/>
              </a:ext>
            </a:extLst>
          </p:cNvPr>
          <p:cNvSpPr>
            <a:spLocks/>
          </p:cNvSpPr>
          <p:nvPr/>
        </p:nvSpPr>
        <p:spPr bwMode="auto">
          <a:xfrm>
            <a:off x="860425" y="1417374"/>
            <a:ext cx="2181355" cy="4520949"/>
          </a:xfrm>
          <a:custGeom>
            <a:avLst/>
            <a:gdLst>
              <a:gd name="T0" fmla="*/ 230 w 415"/>
              <a:gd name="T1" fmla="*/ 637 h 864"/>
              <a:gd name="T2" fmla="*/ 206 w 415"/>
              <a:gd name="T3" fmla="*/ 565 h 864"/>
              <a:gd name="T4" fmla="*/ 206 w 415"/>
              <a:gd name="T5" fmla="*/ 561 h 864"/>
              <a:gd name="T6" fmla="*/ 206 w 415"/>
              <a:gd name="T7" fmla="*/ 520 h 864"/>
              <a:gd name="T8" fmla="*/ 230 w 415"/>
              <a:gd name="T9" fmla="*/ 448 h 864"/>
              <a:gd name="T10" fmla="*/ 286 w 415"/>
              <a:gd name="T11" fmla="*/ 425 h 864"/>
              <a:gd name="T12" fmla="*/ 404 w 415"/>
              <a:gd name="T13" fmla="*/ 341 h 864"/>
              <a:gd name="T14" fmla="*/ 405 w 415"/>
              <a:gd name="T15" fmla="*/ 333 h 864"/>
              <a:gd name="T16" fmla="*/ 405 w 415"/>
              <a:gd name="T17" fmla="*/ 329 h 864"/>
              <a:gd name="T18" fmla="*/ 405 w 415"/>
              <a:gd name="T19" fmla="*/ 321 h 864"/>
              <a:gd name="T20" fmla="*/ 295 w 415"/>
              <a:gd name="T21" fmla="*/ 221 h 864"/>
              <a:gd name="T22" fmla="*/ 285 w 415"/>
              <a:gd name="T23" fmla="*/ 223 h 864"/>
              <a:gd name="T24" fmla="*/ 223 w 415"/>
              <a:gd name="T25" fmla="*/ 192 h 864"/>
              <a:gd name="T26" fmla="*/ 208 w 415"/>
              <a:gd name="T27" fmla="*/ 96 h 864"/>
              <a:gd name="T28" fmla="*/ 33 w 415"/>
              <a:gd name="T29" fmla="*/ 32 h 864"/>
              <a:gd name="T30" fmla="*/ 96 w 415"/>
              <a:gd name="T31" fmla="*/ 207 h 864"/>
              <a:gd name="T32" fmla="*/ 178 w 415"/>
              <a:gd name="T33" fmla="*/ 229 h 864"/>
              <a:gd name="T34" fmla="*/ 203 w 415"/>
              <a:gd name="T35" fmla="*/ 301 h 864"/>
              <a:gd name="T36" fmla="*/ 202 w 415"/>
              <a:gd name="T37" fmla="*/ 342 h 864"/>
              <a:gd name="T38" fmla="*/ 203 w 415"/>
              <a:gd name="T39" fmla="*/ 346 h 864"/>
              <a:gd name="T40" fmla="*/ 179 w 415"/>
              <a:gd name="T41" fmla="*/ 418 h 864"/>
              <a:gd name="T42" fmla="*/ 124 w 415"/>
              <a:gd name="T43" fmla="*/ 441 h 864"/>
              <a:gd name="T44" fmla="*/ 4 w 415"/>
              <a:gd name="T45" fmla="*/ 532 h 864"/>
              <a:gd name="T46" fmla="*/ 3 w 415"/>
              <a:gd name="T47" fmla="*/ 542 h 864"/>
              <a:gd name="T48" fmla="*/ 4 w 415"/>
              <a:gd name="T49" fmla="*/ 551 h 864"/>
              <a:gd name="T50" fmla="*/ 5 w 415"/>
              <a:gd name="T51" fmla="*/ 559 h 864"/>
              <a:gd name="T52" fmla="*/ 5 w 415"/>
              <a:gd name="T53" fmla="*/ 560 h 864"/>
              <a:gd name="T54" fmla="*/ 123 w 415"/>
              <a:gd name="T55" fmla="*/ 644 h 864"/>
              <a:gd name="T56" fmla="*/ 127 w 415"/>
              <a:gd name="T57" fmla="*/ 644 h 864"/>
              <a:gd name="T58" fmla="*/ 186 w 415"/>
              <a:gd name="T59" fmla="*/ 675 h 864"/>
              <a:gd name="T60" fmla="*/ 227 w 415"/>
              <a:gd name="T61" fmla="*/ 830 h 864"/>
              <a:gd name="T62" fmla="*/ 376 w 415"/>
              <a:gd name="T63" fmla="*/ 833 h 864"/>
              <a:gd name="T64" fmla="*/ 290 w 415"/>
              <a:gd name="T65" fmla="*/ 660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15" h="864">
                <a:moveTo>
                  <a:pt x="290" y="660"/>
                </a:moveTo>
                <a:cubicBezTo>
                  <a:pt x="268" y="663"/>
                  <a:pt x="245" y="654"/>
                  <a:pt x="230" y="637"/>
                </a:cubicBezTo>
                <a:cubicBezTo>
                  <a:pt x="223" y="629"/>
                  <a:pt x="223" y="629"/>
                  <a:pt x="223" y="629"/>
                </a:cubicBezTo>
                <a:cubicBezTo>
                  <a:pt x="207" y="612"/>
                  <a:pt x="201" y="588"/>
                  <a:pt x="206" y="565"/>
                </a:cubicBezTo>
                <a:cubicBezTo>
                  <a:pt x="206" y="564"/>
                  <a:pt x="206" y="564"/>
                  <a:pt x="206" y="564"/>
                </a:cubicBezTo>
                <a:cubicBezTo>
                  <a:pt x="206" y="563"/>
                  <a:pt x="206" y="562"/>
                  <a:pt x="206" y="561"/>
                </a:cubicBezTo>
                <a:cubicBezTo>
                  <a:pt x="208" y="552"/>
                  <a:pt x="209" y="543"/>
                  <a:pt x="208" y="534"/>
                </a:cubicBezTo>
                <a:cubicBezTo>
                  <a:pt x="208" y="530"/>
                  <a:pt x="207" y="525"/>
                  <a:pt x="206" y="520"/>
                </a:cubicBezTo>
                <a:cubicBezTo>
                  <a:pt x="201" y="496"/>
                  <a:pt x="208" y="473"/>
                  <a:pt x="223" y="456"/>
                </a:cubicBezTo>
                <a:cubicBezTo>
                  <a:pt x="230" y="448"/>
                  <a:pt x="230" y="448"/>
                  <a:pt x="230" y="448"/>
                </a:cubicBezTo>
                <a:cubicBezTo>
                  <a:pt x="245" y="432"/>
                  <a:pt x="265" y="424"/>
                  <a:pt x="286" y="425"/>
                </a:cubicBezTo>
                <a:cubicBezTo>
                  <a:pt x="286" y="425"/>
                  <a:pt x="286" y="425"/>
                  <a:pt x="286" y="425"/>
                </a:cubicBezTo>
                <a:cubicBezTo>
                  <a:pt x="319" y="430"/>
                  <a:pt x="353" y="419"/>
                  <a:pt x="376" y="395"/>
                </a:cubicBezTo>
                <a:cubicBezTo>
                  <a:pt x="391" y="381"/>
                  <a:pt x="400" y="362"/>
                  <a:pt x="404" y="341"/>
                </a:cubicBezTo>
                <a:cubicBezTo>
                  <a:pt x="404" y="341"/>
                  <a:pt x="404" y="341"/>
                  <a:pt x="404" y="341"/>
                </a:cubicBezTo>
                <a:cubicBezTo>
                  <a:pt x="404" y="338"/>
                  <a:pt x="405" y="336"/>
                  <a:pt x="405" y="333"/>
                </a:cubicBezTo>
                <a:cubicBezTo>
                  <a:pt x="405" y="333"/>
                  <a:pt x="405" y="332"/>
                  <a:pt x="405" y="332"/>
                </a:cubicBezTo>
                <a:cubicBezTo>
                  <a:pt x="405" y="329"/>
                  <a:pt x="405" y="329"/>
                  <a:pt x="405" y="329"/>
                </a:cubicBezTo>
                <a:cubicBezTo>
                  <a:pt x="405" y="327"/>
                  <a:pt x="405" y="325"/>
                  <a:pt x="405" y="323"/>
                </a:cubicBezTo>
                <a:cubicBezTo>
                  <a:pt x="405" y="321"/>
                  <a:pt x="405" y="321"/>
                  <a:pt x="405" y="321"/>
                </a:cubicBezTo>
                <a:cubicBezTo>
                  <a:pt x="405" y="318"/>
                  <a:pt x="405" y="316"/>
                  <a:pt x="405" y="313"/>
                </a:cubicBezTo>
                <a:cubicBezTo>
                  <a:pt x="399" y="257"/>
                  <a:pt x="351" y="217"/>
                  <a:pt x="295" y="221"/>
                </a:cubicBezTo>
                <a:cubicBezTo>
                  <a:pt x="292" y="222"/>
                  <a:pt x="288" y="222"/>
                  <a:pt x="285" y="223"/>
                </a:cubicBezTo>
                <a:cubicBezTo>
                  <a:pt x="285" y="223"/>
                  <a:pt x="285" y="223"/>
                  <a:pt x="285" y="223"/>
                </a:cubicBezTo>
                <a:cubicBezTo>
                  <a:pt x="264" y="224"/>
                  <a:pt x="244" y="215"/>
                  <a:pt x="230" y="199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207" y="174"/>
                  <a:pt x="201" y="150"/>
                  <a:pt x="206" y="128"/>
                </a:cubicBezTo>
                <a:cubicBezTo>
                  <a:pt x="208" y="117"/>
                  <a:pt x="209" y="107"/>
                  <a:pt x="208" y="96"/>
                </a:cubicBezTo>
                <a:cubicBezTo>
                  <a:pt x="204" y="47"/>
                  <a:pt x="164" y="6"/>
                  <a:pt x="114" y="3"/>
                </a:cubicBezTo>
                <a:cubicBezTo>
                  <a:pt x="84" y="0"/>
                  <a:pt x="55" y="11"/>
                  <a:pt x="33" y="32"/>
                </a:cubicBezTo>
                <a:cubicBezTo>
                  <a:pt x="12" y="53"/>
                  <a:pt x="1" y="83"/>
                  <a:pt x="4" y="113"/>
                </a:cubicBezTo>
                <a:cubicBezTo>
                  <a:pt x="7" y="162"/>
                  <a:pt x="47" y="202"/>
                  <a:pt x="96" y="207"/>
                </a:cubicBezTo>
                <a:cubicBezTo>
                  <a:pt x="104" y="207"/>
                  <a:pt x="111" y="207"/>
                  <a:pt x="118" y="206"/>
                </a:cubicBezTo>
                <a:cubicBezTo>
                  <a:pt x="141" y="204"/>
                  <a:pt x="163" y="212"/>
                  <a:pt x="178" y="229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201" y="254"/>
                  <a:pt x="207" y="277"/>
                  <a:pt x="203" y="301"/>
                </a:cubicBezTo>
                <a:cubicBezTo>
                  <a:pt x="202" y="306"/>
                  <a:pt x="201" y="311"/>
                  <a:pt x="201" y="315"/>
                </a:cubicBezTo>
                <a:cubicBezTo>
                  <a:pt x="200" y="324"/>
                  <a:pt x="201" y="333"/>
                  <a:pt x="202" y="342"/>
                </a:cubicBezTo>
                <a:cubicBezTo>
                  <a:pt x="203" y="343"/>
                  <a:pt x="203" y="344"/>
                  <a:pt x="203" y="345"/>
                </a:cubicBezTo>
                <a:cubicBezTo>
                  <a:pt x="203" y="346"/>
                  <a:pt x="203" y="346"/>
                  <a:pt x="203" y="346"/>
                </a:cubicBezTo>
                <a:cubicBezTo>
                  <a:pt x="208" y="369"/>
                  <a:pt x="202" y="393"/>
                  <a:pt x="186" y="410"/>
                </a:cubicBezTo>
                <a:cubicBezTo>
                  <a:pt x="179" y="418"/>
                  <a:pt x="179" y="418"/>
                  <a:pt x="179" y="418"/>
                </a:cubicBezTo>
                <a:cubicBezTo>
                  <a:pt x="165" y="434"/>
                  <a:pt x="145" y="442"/>
                  <a:pt x="124" y="441"/>
                </a:cubicBezTo>
                <a:cubicBezTo>
                  <a:pt x="124" y="441"/>
                  <a:pt x="124" y="441"/>
                  <a:pt x="124" y="441"/>
                </a:cubicBezTo>
                <a:cubicBezTo>
                  <a:pt x="120" y="441"/>
                  <a:pt x="117" y="440"/>
                  <a:pt x="114" y="440"/>
                </a:cubicBezTo>
                <a:cubicBezTo>
                  <a:pt x="58" y="436"/>
                  <a:pt x="10" y="476"/>
                  <a:pt x="4" y="532"/>
                </a:cubicBezTo>
                <a:cubicBezTo>
                  <a:pt x="4" y="534"/>
                  <a:pt x="3" y="537"/>
                  <a:pt x="3" y="540"/>
                </a:cubicBezTo>
                <a:cubicBezTo>
                  <a:pt x="3" y="542"/>
                  <a:pt x="3" y="542"/>
                  <a:pt x="3" y="542"/>
                </a:cubicBezTo>
                <a:cubicBezTo>
                  <a:pt x="3" y="544"/>
                  <a:pt x="3" y="546"/>
                  <a:pt x="4" y="548"/>
                </a:cubicBezTo>
                <a:cubicBezTo>
                  <a:pt x="4" y="551"/>
                  <a:pt x="4" y="551"/>
                  <a:pt x="4" y="551"/>
                </a:cubicBezTo>
                <a:cubicBezTo>
                  <a:pt x="4" y="551"/>
                  <a:pt x="4" y="552"/>
                  <a:pt x="4" y="552"/>
                </a:cubicBezTo>
                <a:cubicBezTo>
                  <a:pt x="4" y="554"/>
                  <a:pt x="4" y="557"/>
                  <a:pt x="5" y="559"/>
                </a:cubicBezTo>
                <a:cubicBezTo>
                  <a:pt x="0" y="561"/>
                  <a:pt x="0" y="561"/>
                  <a:pt x="0" y="561"/>
                </a:cubicBezTo>
                <a:cubicBezTo>
                  <a:pt x="5" y="560"/>
                  <a:pt x="5" y="560"/>
                  <a:pt x="5" y="560"/>
                </a:cubicBezTo>
                <a:cubicBezTo>
                  <a:pt x="8" y="581"/>
                  <a:pt x="18" y="599"/>
                  <a:pt x="32" y="614"/>
                </a:cubicBezTo>
                <a:cubicBezTo>
                  <a:pt x="56" y="638"/>
                  <a:pt x="90" y="649"/>
                  <a:pt x="123" y="644"/>
                </a:cubicBezTo>
                <a:cubicBezTo>
                  <a:pt x="123" y="644"/>
                  <a:pt x="123" y="644"/>
                  <a:pt x="123" y="644"/>
                </a:cubicBezTo>
                <a:cubicBezTo>
                  <a:pt x="124" y="644"/>
                  <a:pt x="126" y="644"/>
                  <a:pt x="127" y="644"/>
                </a:cubicBezTo>
                <a:cubicBezTo>
                  <a:pt x="146" y="644"/>
                  <a:pt x="165" y="652"/>
                  <a:pt x="178" y="666"/>
                </a:cubicBezTo>
                <a:cubicBezTo>
                  <a:pt x="186" y="675"/>
                  <a:pt x="186" y="675"/>
                  <a:pt x="186" y="675"/>
                </a:cubicBezTo>
                <a:cubicBezTo>
                  <a:pt x="202" y="692"/>
                  <a:pt x="208" y="716"/>
                  <a:pt x="203" y="740"/>
                </a:cubicBezTo>
                <a:cubicBezTo>
                  <a:pt x="196" y="772"/>
                  <a:pt x="205" y="806"/>
                  <a:pt x="227" y="830"/>
                </a:cubicBezTo>
                <a:cubicBezTo>
                  <a:pt x="246" y="851"/>
                  <a:pt x="272" y="863"/>
                  <a:pt x="301" y="864"/>
                </a:cubicBezTo>
                <a:cubicBezTo>
                  <a:pt x="329" y="864"/>
                  <a:pt x="356" y="854"/>
                  <a:pt x="376" y="833"/>
                </a:cubicBezTo>
                <a:cubicBezTo>
                  <a:pt x="411" y="797"/>
                  <a:pt x="415" y="740"/>
                  <a:pt x="385" y="700"/>
                </a:cubicBezTo>
                <a:cubicBezTo>
                  <a:pt x="363" y="671"/>
                  <a:pt x="327" y="655"/>
                  <a:pt x="290" y="6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90919205-1783-483F-BD33-5B24750FC5E6}"/>
              </a:ext>
            </a:extLst>
          </p:cNvPr>
          <p:cNvGrpSpPr/>
          <p:nvPr/>
        </p:nvGrpSpPr>
        <p:grpSpPr>
          <a:xfrm>
            <a:off x="1923117" y="2553242"/>
            <a:ext cx="1113600" cy="1109163"/>
            <a:chOff x="1923117" y="2473477"/>
            <a:chExt cx="1113600" cy="1109163"/>
          </a:xfrm>
        </p:grpSpPr>
        <p:sp>
          <p:nvSpPr>
            <p:cNvPr id="52" name="Oval 8">
              <a:extLst>
                <a:ext uri="{FF2B5EF4-FFF2-40B4-BE49-F238E27FC236}">
                  <a16:creationId xmlns:a16="http://schemas.microsoft.com/office/drawing/2014/main" id="{DD64174D-E7E5-40C4-B517-59B3CC484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B4C3EDCD-1EEB-4708-B317-294A0DE6F7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83">
              <a:extLst>
                <a:ext uri="{FF2B5EF4-FFF2-40B4-BE49-F238E27FC236}">
                  <a16:creationId xmlns:a16="http://schemas.microsoft.com/office/drawing/2014/main" id="{0A0DD6BE-6E21-459E-966C-65C63DC77E36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4" name="Google Shape;349;p22">
            <a:extLst>
              <a:ext uri="{FF2B5EF4-FFF2-40B4-BE49-F238E27FC236}">
                <a16:creationId xmlns:a16="http://schemas.microsoft.com/office/drawing/2014/main" id="{9941F6A4-AA73-423A-91B0-C23B94030F14}"/>
              </a:ext>
            </a:extLst>
          </p:cNvPr>
          <p:cNvSpPr/>
          <p:nvPr/>
        </p:nvSpPr>
        <p:spPr>
          <a:xfrm>
            <a:off x="2234652" y="1738170"/>
            <a:ext cx="6640407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Huge increases in </a:t>
            </a: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computing power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and</a:t>
            </a: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 data collection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throughout the last decade</a:t>
            </a:r>
            <a:endParaRPr sz="1600" kern="0" dirty="0">
              <a:solidFill>
                <a:schemeClr val="tx1">
                  <a:lumMod val="75000"/>
                  <a:lumOff val="25000"/>
                </a:schemeClr>
              </a:solidFill>
              <a:ea typeface="Roboto Light"/>
              <a:cs typeface="Roboto Light"/>
              <a:sym typeface="Roboto Light"/>
            </a:endParaRPr>
          </a:p>
        </p:txBody>
      </p:sp>
      <p:sp>
        <p:nvSpPr>
          <p:cNvPr id="65" name="Google Shape;349;p22">
            <a:extLst>
              <a:ext uri="{FF2B5EF4-FFF2-40B4-BE49-F238E27FC236}">
                <a16:creationId xmlns:a16="http://schemas.microsoft.com/office/drawing/2014/main" id="{3139625C-F787-4164-92C3-E06201A8368C}"/>
              </a:ext>
            </a:extLst>
          </p:cNvPr>
          <p:cNvSpPr/>
          <p:nvPr/>
        </p:nvSpPr>
        <p:spPr>
          <a:xfrm>
            <a:off x="3392489" y="2997024"/>
            <a:ext cx="6640407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</a:pP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</a:rPr>
              <a:t>Developments allowed for gaining </a:t>
            </a: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</a:rPr>
              <a:t>better insights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cs typeface="Segoe UI Light" panose="020B0502040204020203" pitchFamily="34" charset="0"/>
              </a:rPr>
              <a:t>into customer interactions.</a:t>
            </a:r>
            <a:endParaRPr sz="1600" kern="0" dirty="0">
              <a:solidFill>
                <a:schemeClr val="tx1">
                  <a:lumMod val="75000"/>
                  <a:lumOff val="25000"/>
                </a:schemeClr>
              </a:solidFill>
              <a:cs typeface="Segoe UI Light" panose="020B0502040204020203" pitchFamily="34" charset="0"/>
              <a:sym typeface="Roboto Light"/>
            </a:endParaRPr>
          </a:p>
        </p:txBody>
      </p:sp>
      <p:sp>
        <p:nvSpPr>
          <p:cNvPr id="68" name="Google Shape;349;p22">
            <a:extLst>
              <a:ext uri="{FF2B5EF4-FFF2-40B4-BE49-F238E27FC236}">
                <a16:creationId xmlns:a16="http://schemas.microsoft.com/office/drawing/2014/main" id="{04286355-08C0-4FA6-A3E1-E96FF1490FBD}"/>
              </a:ext>
            </a:extLst>
          </p:cNvPr>
          <p:cNvSpPr/>
          <p:nvPr/>
        </p:nvSpPr>
        <p:spPr>
          <a:xfrm>
            <a:off x="3392489" y="5282153"/>
            <a:ext cx="6862596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Research on personalization mainly focused on </a:t>
            </a: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product recommendation</a:t>
            </a:r>
            <a:r>
              <a:rPr lang="en-US" sz="1600" b="1" kern="0" baseline="3000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3</a:t>
            </a:r>
            <a:endParaRPr sz="1600" b="1" kern="0" dirty="0">
              <a:solidFill>
                <a:schemeClr val="tx1">
                  <a:lumMod val="75000"/>
                  <a:lumOff val="25000"/>
                </a:schemeClr>
              </a:solidFill>
              <a:ea typeface="Roboto Light"/>
              <a:cs typeface="Roboto Light"/>
              <a:sym typeface="Roboto Light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5DEB5DFB-6BD6-42AD-8307-883337698440}"/>
              </a:ext>
            </a:extLst>
          </p:cNvPr>
          <p:cNvGrpSpPr/>
          <p:nvPr/>
        </p:nvGrpSpPr>
        <p:grpSpPr>
          <a:xfrm>
            <a:off x="882839" y="1402230"/>
            <a:ext cx="1115079" cy="1115079"/>
            <a:chOff x="882839" y="1322465"/>
            <a:chExt cx="1115079" cy="1115079"/>
          </a:xfrm>
        </p:grpSpPr>
        <p:sp>
          <p:nvSpPr>
            <p:cNvPr id="50" name="Oval 6">
              <a:extLst>
                <a:ext uri="{FF2B5EF4-FFF2-40B4-BE49-F238E27FC236}">
                  <a16:creationId xmlns:a16="http://schemas.microsoft.com/office/drawing/2014/main" id="{1A96034F-CEC2-4AF2-B328-383E4B9804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68183E41-0CE7-41F3-AD60-3F11F44409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81">
              <a:extLst>
                <a:ext uri="{FF2B5EF4-FFF2-40B4-BE49-F238E27FC236}">
                  <a16:creationId xmlns:a16="http://schemas.microsoft.com/office/drawing/2014/main" id="{027E7142-A6C9-4739-A38D-BC320D4F366A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3" name="Groep 92">
            <a:extLst>
              <a:ext uri="{FF2B5EF4-FFF2-40B4-BE49-F238E27FC236}">
                <a16:creationId xmlns:a16="http://schemas.microsoft.com/office/drawing/2014/main" id="{9F1AD0A6-DC2A-4A91-A257-233DC1B1B86B}"/>
              </a:ext>
            </a:extLst>
          </p:cNvPr>
          <p:cNvGrpSpPr/>
          <p:nvPr/>
        </p:nvGrpSpPr>
        <p:grpSpPr>
          <a:xfrm>
            <a:off x="874713" y="3702504"/>
            <a:ext cx="1115079" cy="1115079"/>
            <a:chOff x="882839" y="1322465"/>
            <a:chExt cx="1115079" cy="1115079"/>
          </a:xfrm>
        </p:grpSpPr>
        <p:sp>
          <p:nvSpPr>
            <p:cNvPr id="101" name="Oval 6">
              <a:extLst>
                <a:ext uri="{FF2B5EF4-FFF2-40B4-BE49-F238E27FC236}">
                  <a16:creationId xmlns:a16="http://schemas.microsoft.com/office/drawing/2014/main" id="{598D9764-E38B-47C4-BD48-AF5C341B7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826" y="1500671"/>
              <a:ext cx="763104" cy="75866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113AC286-E61A-4064-AF20-A69656D66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839" y="1322465"/>
              <a:ext cx="1115079" cy="1115079"/>
            </a:xfrm>
            <a:custGeom>
              <a:avLst/>
              <a:gdLst>
                <a:gd name="T0" fmla="*/ 106 w 212"/>
                <a:gd name="T1" fmla="*/ 213 h 213"/>
                <a:gd name="T2" fmla="*/ 0 w 212"/>
                <a:gd name="T3" fmla="*/ 106 h 213"/>
                <a:gd name="T4" fmla="*/ 106 w 212"/>
                <a:gd name="T5" fmla="*/ 0 h 213"/>
                <a:gd name="T6" fmla="*/ 212 w 212"/>
                <a:gd name="T7" fmla="*/ 106 h 213"/>
                <a:gd name="T8" fmla="*/ 106 w 212"/>
                <a:gd name="T9" fmla="*/ 213 h 213"/>
                <a:gd name="T10" fmla="*/ 106 w 212"/>
                <a:gd name="T11" fmla="*/ 12 h 213"/>
                <a:gd name="T12" fmla="*/ 12 w 212"/>
                <a:gd name="T13" fmla="*/ 106 h 213"/>
                <a:gd name="T14" fmla="*/ 106 w 212"/>
                <a:gd name="T15" fmla="*/ 201 h 213"/>
                <a:gd name="T16" fmla="*/ 200 w 212"/>
                <a:gd name="T17" fmla="*/ 106 h 213"/>
                <a:gd name="T18" fmla="*/ 106 w 212"/>
                <a:gd name="T1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3">
                  <a:moveTo>
                    <a:pt x="106" y="213"/>
                  </a:moveTo>
                  <a:cubicBezTo>
                    <a:pt x="47" y="213"/>
                    <a:pt x="0" y="165"/>
                    <a:pt x="0" y="106"/>
                  </a:cubicBezTo>
                  <a:cubicBezTo>
                    <a:pt x="0" y="48"/>
                    <a:pt x="47" y="0"/>
                    <a:pt x="106" y="0"/>
                  </a:cubicBezTo>
                  <a:cubicBezTo>
                    <a:pt x="164" y="0"/>
                    <a:pt x="212" y="48"/>
                    <a:pt x="212" y="106"/>
                  </a:cubicBezTo>
                  <a:cubicBezTo>
                    <a:pt x="212" y="165"/>
                    <a:pt x="164" y="213"/>
                    <a:pt x="106" y="213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1"/>
                    <a:pt x="106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Oval 81">
              <a:extLst>
                <a:ext uri="{FF2B5EF4-FFF2-40B4-BE49-F238E27FC236}">
                  <a16:creationId xmlns:a16="http://schemas.microsoft.com/office/drawing/2014/main" id="{17DB728E-3AB8-48A3-B183-567C6E6AD8F0}"/>
                </a:ext>
              </a:extLst>
            </p:cNvPr>
            <p:cNvSpPr/>
            <p:nvPr/>
          </p:nvSpPr>
          <p:spPr>
            <a:xfrm>
              <a:off x="1123216" y="1562842"/>
              <a:ext cx="634324" cy="634324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27" name="Groep 126">
            <a:extLst>
              <a:ext uri="{FF2B5EF4-FFF2-40B4-BE49-F238E27FC236}">
                <a16:creationId xmlns:a16="http://schemas.microsoft.com/office/drawing/2014/main" id="{7966AD46-072E-45A9-94F1-74A0C3DF28B2}"/>
              </a:ext>
            </a:extLst>
          </p:cNvPr>
          <p:cNvGrpSpPr/>
          <p:nvPr/>
        </p:nvGrpSpPr>
        <p:grpSpPr>
          <a:xfrm>
            <a:off x="1918054" y="4838372"/>
            <a:ext cx="1113600" cy="1109163"/>
            <a:chOff x="1923117" y="2473477"/>
            <a:chExt cx="1113600" cy="1109163"/>
          </a:xfrm>
        </p:grpSpPr>
        <p:sp>
          <p:nvSpPr>
            <p:cNvPr id="128" name="Oval 8">
              <a:extLst>
                <a:ext uri="{FF2B5EF4-FFF2-40B4-BE49-F238E27FC236}">
                  <a16:creationId xmlns:a16="http://schemas.microsoft.com/office/drawing/2014/main" id="{D8517F05-876F-47EC-B5CD-E30FF09D7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1323" y="2651682"/>
              <a:ext cx="757189" cy="75275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">
              <a:extLst>
                <a:ext uri="{FF2B5EF4-FFF2-40B4-BE49-F238E27FC236}">
                  <a16:creationId xmlns:a16="http://schemas.microsoft.com/office/drawing/2014/main" id="{310ECE43-CF59-457C-805E-81C75EDD0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3117" y="2473477"/>
              <a:ext cx="1113600" cy="1109163"/>
            </a:xfrm>
            <a:custGeom>
              <a:avLst/>
              <a:gdLst>
                <a:gd name="T0" fmla="*/ 106 w 212"/>
                <a:gd name="T1" fmla="*/ 212 h 212"/>
                <a:gd name="T2" fmla="*/ 0 w 212"/>
                <a:gd name="T3" fmla="*/ 106 h 212"/>
                <a:gd name="T4" fmla="*/ 106 w 212"/>
                <a:gd name="T5" fmla="*/ 0 h 212"/>
                <a:gd name="T6" fmla="*/ 212 w 212"/>
                <a:gd name="T7" fmla="*/ 106 h 212"/>
                <a:gd name="T8" fmla="*/ 106 w 212"/>
                <a:gd name="T9" fmla="*/ 212 h 212"/>
                <a:gd name="T10" fmla="*/ 106 w 212"/>
                <a:gd name="T11" fmla="*/ 12 h 212"/>
                <a:gd name="T12" fmla="*/ 12 w 212"/>
                <a:gd name="T13" fmla="*/ 106 h 212"/>
                <a:gd name="T14" fmla="*/ 106 w 212"/>
                <a:gd name="T15" fmla="*/ 200 h 212"/>
                <a:gd name="T16" fmla="*/ 200 w 212"/>
                <a:gd name="T17" fmla="*/ 106 h 212"/>
                <a:gd name="T18" fmla="*/ 106 w 212"/>
                <a:gd name="T19" fmla="*/ 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2" h="212">
                  <a:moveTo>
                    <a:pt x="106" y="212"/>
                  </a:moveTo>
                  <a:cubicBezTo>
                    <a:pt x="48" y="212"/>
                    <a:pt x="0" y="164"/>
                    <a:pt x="0" y="106"/>
                  </a:cubicBezTo>
                  <a:cubicBezTo>
                    <a:pt x="0" y="47"/>
                    <a:pt x="48" y="0"/>
                    <a:pt x="106" y="0"/>
                  </a:cubicBezTo>
                  <a:cubicBezTo>
                    <a:pt x="165" y="0"/>
                    <a:pt x="212" y="47"/>
                    <a:pt x="212" y="106"/>
                  </a:cubicBezTo>
                  <a:cubicBezTo>
                    <a:pt x="212" y="164"/>
                    <a:pt x="165" y="212"/>
                    <a:pt x="106" y="212"/>
                  </a:cubicBezTo>
                  <a:close/>
                  <a:moveTo>
                    <a:pt x="106" y="12"/>
                  </a:moveTo>
                  <a:cubicBezTo>
                    <a:pt x="54" y="12"/>
                    <a:pt x="12" y="54"/>
                    <a:pt x="12" y="106"/>
                  </a:cubicBezTo>
                  <a:cubicBezTo>
                    <a:pt x="12" y="158"/>
                    <a:pt x="54" y="200"/>
                    <a:pt x="106" y="200"/>
                  </a:cubicBezTo>
                  <a:cubicBezTo>
                    <a:pt x="158" y="200"/>
                    <a:pt x="200" y="158"/>
                    <a:pt x="200" y="106"/>
                  </a:cubicBezTo>
                  <a:cubicBezTo>
                    <a:pt x="200" y="54"/>
                    <a:pt x="158" y="12"/>
                    <a:pt x="106" y="12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83">
              <a:extLst>
                <a:ext uri="{FF2B5EF4-FFF2-40B4-BE49-F238E27FC236}">
                  <a16:creationId xmlns:a16="http://schemas.microsoft.com/office/drawing/2014/main" id="{E994A7B4-185A-4310-ACB9-852054FFFBA0}"/>
                </a:ext>
              </a:extLst>
            </p:cNvPr>
            <p:cNvSpPr/>
            <p:nvPr/>
          </p:nvSpPr>
          <p:spPr>
            <a:xfrm>
              <a:off x="2162755" y="2710896"/>
              <a:ext cx="634324" cy="634324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4" name="Google Shape;349;p22">
            <a:extLst>
              <a:ext uri="{FF2B5EF4-FFF2-40B4-BE49-F238E27FC236}">
                <a16:creationId xmlns:a16="http://schemas.microsoft.com/office/drawing/2014/main" id="{2098B5D0-A8EF-4A90-A43F-AFE6BB35F523}"/>
              </a:ext>
            </a:extLst>
          </p:cNvPr>
          <p:cNvSpPr/>
          <p:nvPr/>
        </p:nvSpPr>
        <p:spPr>
          <a:xfrm>
            <a:off x="2234652" y="4149243"/>
            <a:ext cx="6640407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Currently, </a:t>
            </a: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promotional efforts can be tailored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on an</a:t>
            </a: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individual level</a:t>
            </a:r>
            <a:r>
              <a:rPr lang="en-US" sz="1600" kern="0" baseline="30000" dirty="0">
                <a:solidFill>
                  <a:schemeClr val="tx1">
                    <a:lumMod val="75000"/>
                    <a:lumOff val="25000"/>
                  </a:schemeClr>
                </a:solidFill>
                <a:ea typeface="Roboto Light"/>
                <a:cs typeface="Segoe UI Light" panose="020B0502040204020203" pitchFamily="34" charset="0"/>
                <a:sym typeface="Roboto Light"/>
              </a:rPr>
              <a:t>2</a:t>
            </a:r>
            <a:endParaRPr lang="en-US" sz="1600" kern="0" baseline="30000" dirty="0">
              <a:solidFill>
                <a:schemeClr val="tx1">
                  <a:lumMod val="75000"/>
                  <a:lumOff val="25000"/>
                </a:schemeClr>
              </a:solidFill>
              <a:ea typeface="Roboto Light"/>
              <a:cs typeface="Roboto Light"/>
              <a:sym typeface="Roboto Light"/>
            </a:endParaRPr>
          </a:p>
        </p:txBody>
      </p:sp>
      <p:sp>
        <p:nvSpPr>
          <p:cNvPr id="139" name="Rechthoek 138">
            <a:extLst>
              <a:ext uri="{FF2B5EF4-FFF2-40B4-BE49-F238E27FC236}">
                <a16:creationId xmlns:a16="http://schemas.microsoft.com/office/drawing/2014/main" id="{7BFF39B8-D4DB-464B-B0C7-BBA9F6CDC5D8}"/>
              </a:ext>
            </a:extLst>
          </p:cNvPr>
          <p:cNvSpPr/>
          <p:nvPr/>
        </p:nvSpPr>
        <p:spPr>
          <a:xfrm>
            <a:off x="1287137" y="1806233"/>
            <a:ext cx="301010" cy="322134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0" name="Rechthoek 139">
            <a:extLst>
              <a:ext uri="{FF2B5EF4-FFF2-40B4-BE49-F238E27FC236}">
                <a16:creationId xmlns:a16="http://schemas.microsoft.com/office/drawing/2014/main" id="{E1C418A2-007B-4CBB-84B6-AEC105AE2E3F}"/>
              </a:ext>
            </a:extLst>
          </p:cNvPr>
          <p:cNvSpPr/>
          <p:nvPr/>
        </p:nvSpPr>
        <p:spPr>
          <a:xfrm>
            <a:off x="2316824" y="2916534"/>
            <a:ext cx="348542" cy="373002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1" name="Rechthoek 140">
            <a:extLst>
              <a:ext uri="{FF2B5EF4-FFF2-40B4-BE49-F238E27FC236}">
                <a16:creationId xmlns:a16="http://schemas.microsoft.com/office/drawing/2014/main" id="{354974D4-A834-4B13-97E7-EA625E399971}"/>
              </a:ext>
            </a:extLst>
          </p:cNvPr>
          <p:cNvSpPr/>
          <p:nvPr/>
        </p:nvSpPr>
        <p:spPr>
          <a:xfrm>
            <a:off x="1300797" y="4098976"/>
            <a:ext cx="301010" cy="322134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2" name="Rechthoek 141">
            <a:extLst>
              <a:ext uri="{FF2B5EF4-FFF2-40B4-BE49-F238E27FC236}">
                <a16:creationId xmlns:a16="http://schemas.microsoft.com/office/drawing/2014/main" id="{F45583F9-9B99-4C06-B263-A6F1D3A2EBEF}"/>
              </a:ext>
            </a:extLst>
          </p:cNvPr>
          <p:cNvSpPr/>
          <p:nvPr/>
        </p:nvSpPr>
        <p:spPr>
          <a:xfrm>
            <a:off x="2314824" y="5231886"/>
            <a:ext cx="301010" cy="322134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163987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iterature review</a:t>
            </a:r>
          </a:p>
        </p:txBody>
      </p:sp>
      <p:sp>
        <p:nvSpPr>
          <p:cNvPr id="144" name="Google Shape;349;p22">
            <a:extLst>
              <a:ext uri="{FF2B5EF4-FFF2-40B4-BE49-F238E27FC236}">
                <a16:creationId xmlns:a16="http://schemas.microsoft.com/office/drawing/2014/main" id="{D70619BF-8451-46F6-8EBC-7F4FEE8FEA16}"/>
              </a:ext>
            </a:extLst>
          </p:cNvPr>
          <p:cNvSpPr/>
          <p:nvPr/>
        </p:nvSpPr>
        <p:spPr>
          <a:xfrm>
            <a:off x="345034" y="6359990"/>
            <a:ext cx="11624334" cy="304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nl-NL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[2] 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G.M. Allenby and P.E. Rossi. </a:t>
            </a:r>
            <a:r>
              <a:rPr lang="en-US" sz="1100" i="1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“Marketing models of consumer heterogeneity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". In: Journal of Econometrics 89 (1999), pp. 57-78</a:t>
            </a:r>
          </a:p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nl-NL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[3] 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A. Ansari, S. </a:t>
            </a:r>
            <a:r>
              <a:rPr lang="en-US" sz="1100" kern="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Essegaier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, and R. Kohli. </a:t>
            </a:r>
            <a:r>
              <a:rPr lang="en-US" sz="1100" i="1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“Internet recommendation systems"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. In: Journal of Marketing Research 37 (2000), pp. 363-375.</a:t>
            </a:r>
            <a:endParaRPr sz="1100" kern="0" dirty="0">
              <a:solidFill>
                <a:schemeClr val="tx1">
                  <a:lumMod val="50000"/>
                  <a:lumOff val="50000"/>
                </a:schemeClr>
              </a:solidFill>
              <a:ea typeface="Roboto Light"/>
              <a:cs typeface="Roboto Light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4248514394"/>
      </p:ext>
    </p:extLst>
  </p:cSld>
  <p:clrMapOvr>
    <a:masterClrMapping/>
  </p:clrMapOvr>
  <p:transition spd="med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ep 7">
            <a:extLst>
              <a:ext uri="{FF2B5EF4-FFF2-40B4-BE49-F238E27FC236}">
                <a16:creationId xmlns:a16="http://schemas.microsoft.com/office/drawing/2014/main" id="{0BCB3E69-208B-434E-9AB6-F70038F94C2C}"/>
              </a:ext>
            </a:extLst>
          </p:cNvPr>
          <p:cNvGrpSpPr/>
          <p:nvPr/>
        </p:nvGrpSpPr>
        <p:grpSpPr>
          <a:xfrm>
            <a:off x="874713" y="3429000"/>
            <a:ext cx="3489192" cy="492443"/>
            <a:chOff x="874713" y="2844451"/>
            <a:chExt cx="3489192" cy="492443"/>
          </a:xfrm>
        </p:grpSpPr>
        <p:grpSp>
          <p:nvGrpSpPr>
            <p:cNvPr id="47" name="Group 12">
              <a:extLst>
                <a:ext uri="{FF2B5EF4-FFF2-40B4-BE49-F238E27FC236}">
                  <a16:creationId xmlns:a16="http://schemas.microsoft.com/office/drawing/2014/main" id="{D84DA442-C8C1-42BE-A509-26FB18A1F949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51" name="Oval 179">
                <a:extLst>
                  <a:ext uri="{FF2B5EF4-FFF2-40B4-BE49-F238E27FC236}">
                    <a16:creationId xmlns:a16="http://schemas.microsoft.com/office/drawing/2014/main" id="{2289FC8C-BAD4-4F2A-9C1F-D4B076552795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188">
                <a:extLst>
                  <a:ext uri="{FF2B5EF4-FFF2-40B4-BE49-F238E27FC236}">
                    <a16:creationId xmlns:a16="http://schemas.microsoft.com/office/drawing/2014/main" id="{55E6547E-E708-42AB-B11E-497D8025979E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8" name="TextBox 192">
              <a:extLst>
                <a:ext uri="{FF2B5EF4-FFF2-40B4-BE49-F238E27FC236}">
                  <a16:creationId xmlns:a16="http://schemas.microsoft.com/office/drawing/2014/main" id="{FC3D56CC-4363-4AF9-8E96-8E339BC53C8A}"/>
                </a:ext>
              </a:extLst>
            </p:cNvPr>
            <p:cNvSpPr txBox="1"/>
            <p:nvPr/>
          </p:nvSpPr>
          <p:spPr>
            <a:xfrm>
              <a:off x="1713841" y="2844451"/>
              <a:ext cx="26500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reating </a:t>
              </a:r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aptive Persuasive Systems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74713" y="318367"/>
            <a:ext cx="274113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Backgroun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ersonalized persuasion</a:t>
            </a:r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38CD91A5-D4CE-4CB5-8A7F-89DD87519C26}"/>
              </a:ext>
            </a:extLst>
          </p:cNvPr>
          <p:cNvGrpSpPr/>
          <p:nvPr/>
        </p:nvGrpSpPr>
        <p:grpSpPr>
          <a:xfrm>
            <a:off x="1362077" y="2219287"/>
            <a:ext cx="3489192" cy="492443"/>
            <a:chOff x="874713" y="1817231"/>
            <a:chExt cx="3489192" cy="492443"/>
          </a:xfrm>
        </p:grpSpPr>
        <p:grpSp>
          <p:nvGrpSpPr>
            <p:cNvPr id="56" name="Group 13">
              <a:extLst>
                <a:ext uri="{FF2B5EF4-FFF2-40B4-BE49-F238E27FC236}">
                  <a16:creationId xmlns:a16="http://schemas.microsoft.com/office/drawing/2014/main" id="{04753109-7078-4A58-88AE-7F61A6D59593}"/>
                </a:ext>
              </a:extLst>
            </p:cNvPr>
            <p:cNvGrpSpPr/>
            <p:nvPr/>
          </p:nvGrpSpPr>
          <p:grpSpPr>
            <a:xfrm>
              <a:off x="874713" y="1848524"/>
              <a:ext cx="487364" cy="368300"/>
              <a:chOff x="8102600" y="2032000"/>
              <a:chExt cx="487364" cy="368300"/>
            </a:xfrm>
          </p:grpSpPr>
          <p:sp>
            <p:nvSpPr>
              <p:cNvPr id="58" name="Oval 2">
                <a:extLst>
                  <a:ext uri="{FF2B5EF4-FFF2-40B4-BE49-F238E27FC236}">
                    <a16:creationId xmlns:a16="http://schemas.microsoft.com/office/drawing/2014/main" id="{7636993B-BC27-4D90-9373-E0FA17EB5F7A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187">
                <a:extLst>
                  <a:ext uri="{FF2B5EF4-FFF2-40B4-BE49-F238E27FC236}">
                    <a16:creationId xmlns:a16="http://schemas.microsoft.com/office/drawing/2014/main" id="{5F0FB9DF-332F-4733-8817-8EF2016B319B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7" name="TextBox 191">
              <a:extLst>
                <a:ext uri="{FF2B5EF4-FFF2-40B4-BE49-F238E27FC236}">
                  <a16:creationId xmlns:a16="http://schemas.microsoft.com/office/drawing/2014/main" id="{5C9683A5-CB64-4377-803F-45ACB0154E9E}"/>
                </a:ext>
              </a:extLst>
            </p:cNvPr>
            <p:cNvSpPr txBox="1"/>
            <p:nvPr/>
          </p:nvSpPr>
          <p:spPr>
            <a:xfrm>
              <a:off x="1713841" y="1817231"/>
              <a:ext cx="265006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ividual differences 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 preferred persuasion strategy</a:t>
              </a:r>
              <a:r>
                <a:rPr lang="en-US" sz="1600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A723997E-8F79-46D8-A188-0F0F8CD78D48}"/>
              </a:ext>
            </a:extLst>
          </p:cNvPr>
          <p:cNvGrpSpPr/>
          <p:nvPr/>
        </p:nvGrpSpPr>
        <p:grpSpPr>
          <a:xfrm>
            <a:off x="1362077" y="4638713"/>
            <a:ext cx="3489192" cy="430887"/>
            <a:chOff x="874713" y="3871671"/>
            <a:chExt cx="3489192" cy="430887"/>
          </a:xfrm>
        </p:grpSpPr>
        <p:grpSp>
          <p:nvGrpSpPr>
            <p:cNvPr id="43" name="Group 5">
              <a:extLst>
                <a:ext uri="{FF2B5EF4-FFF2-40B4-BE49-F238E27FC236}">
                  <a16:creationId xmlns:a16="http://schemas.microsoft.com/office/drawing/2014/main" id="{80AD3F42-6668-4181-84C1-E03F5D111A36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45" name="Oval 180">
                <a:extLst>
                  <a:ext uri="{FF2B5EF4-FFF2-40B4-BE49-F238E27FC236}">
                    <a16:creationId xmlns:a16="http://schemas.microsoft.com/office/drawing/2014/main" id="{3CF9965C-CFAD-4952-9A57-B36195431BC5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189">
                <a:extLst>
                  <a:ext uri="{FF2B5EF4-FFF2-40B4-BE49-F238E27FC236}">
                    <a16:creationId xmlns:a16="http://schemas.microsoft.com/office/drawing/2014/main" id="{BD4A211D-D6C1-471E-A086-A69B7B562521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4" name="TextBox 193">
              <a:extLst>
                <a:ext uri="{FF2B5EF4-FFF2-40B4-BE49-F238E27FC236}">
                  <a16:creationId xmlns:a16="http://schemas.microsoft.com/office/drawing/2014/main" id="{7D6EAE88-6997-45F1-90EB-CA12A788D523}"/>
                </a:ext>
              </a:extLst>
            </p:cNvPr>
            <p:cNvSpPr txBox="1"/>
            <p:nvPr/>
          </p:nvSpPr>
          <p:spPr>
            <a:xfrm>
              <a:off x="1713841" y="387167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se systems have reported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mising results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2FDB0D93-6AF0-412B-9ABD-FAA8E01B36BC}"/>
              </a:ext>
            </a:extLst>
          </p:cNvPr>
          <p:cNvCxnSpPr/>
          <p:nvPr/>
        </p:nvCxnSpPr>
        <p:spPr>
          <a:xfrm>
            <a:off x="6757677" y="4683698"/>
            <a:ext cx="1166111" cy="0"/>
          </a:xfrm>
          <a:prstGeom prst="line">
            <a:avLst/>
          </a:prstGeom>
          <a:ln w="38100">
            <a:solidFill>
              <a:srgbClr val="3B3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8" name="Groep 297">
            <a:extLst>
              <a:ext uri="{FF2B5EF4-FFF2-40B4-BE49-F238E27FC236}">
                <a16:creationId xmlns:a16="http://schemas.microsoft.com/office/drawing/2014/main" id="{FD5C01E0-B59C-49FB-81B1-48B7007A42E7}"/>
              </a:ext>
            </a:extLst>
          </p:cNvPr>
          <p:cNvGrpSpPr/>
          <p:nvPr/>
        </p:nvGrpSpPr>
        <p:grpSpPr>
          <a:xfrm>
            <a:off x="7327643" y="1340155"/>
            <a:ext cx="2814063" cy="1858059"/>
            <a:chOff x="7833160" y="1400078"/>
            <a:chExt cx="2814063" cy="1858059"/>
          </a:xfrm>
        </p:grpSpPr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388B3E91-6ACA-4A84-8392-4E9660A7407C}"/>
                </a:ext>
              </a:extLst>
            </p:cNvPr>
            <p:cNvGrpSpPr/>
            <p:nvPr/>
          </p:nvGrpSpPr>
          <p:grpSpPr>
            <a:xfrm>
              <a:off x="7833160" y="1493060"/>
              <a:ext cx="2032250" cy="1765077"/>
              <a:chOff x="7823112" y="984609"/>
              <a:chExt cx="2032250" cy="1765077"/>
            </a:xfrm>
          </p:grpSpPr>
          <p:sp>
            <p:nvSpPr>
              <p:cNvPr id="111" name="Wolk 110">
                <a:extLst>
                  <a:ext uri="{FF2B5EF4-FFF2-40B4-BE49-F238E27FC236}">
                    <a16:creationId xmlns:a16="http://schemas.microsoft.com/office/drawing/2014/main" id="{5024F1BA-43B8-4C71-9024-541698237776}"/>
                  </a:ext>
                </a:extLst>
              </p:cNvPr>
              <p:cNvSpPr/>
              <p:nvPr/>
            </p:nvSpPr>
            <p:spPr>
              <a:xfrm>
                <a:off x="7823112" y="984609"/>
                <a:ext cx="2032250" cy="1765077"/>
              </a:xfrm>
              <a:prstGeom prst="clou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grpSp>
            <p:nvGrpSpPr>
              <p:cNvPr id="22" name="Groep 21">
                <a:extLst>
                  <a:ext uri="{FF2B5EF4-FFF2-40B4-BE49-F238E27FC236}">
                    <a16:creationId xmlns:a16="http://schemas.microsoft.com/office/drawing/2014/main" id="{24008B5A-ADC8-4FFA-A30E-CF85A86858EB}"/>
                  </a:ext>
                </a:extLst>
              </p:cNvPr>
              <p:cNvGrpSpPr/>
              <p:nvPr/>
            </p:nvGrpSpPr>
            <p:grpSpPr>
              <a:xfrm>
                <a:off x="8391524" y="1270685"/>
                <a:ext cx="895429" cy="1201635"/>
                <a:chOff x="7562846" y="1414463"/>
                <a:chExt cx="1143003" cy="1533875"/>
              </a:xfrm>
            </p:grpSpPr>
            <p:grpSp>
              <p:nvGrpSpPr>
                <p:cNvPr id="13" name="Groep 12">
                  <a:extLst>
                    <a:ext uri="{FF2B5EF4-FFF2-40B4-BE49-F238E27FC236}">
                      <a16:creationId xmlns:a16="http://schemas.microsoft.com/office/drawing/2014/main" id="{0803EE46-CB46-479D-9A38-2B2B6A531E5E}"/>
                    </a:ext>
                  </a:extLst>
                </p:cNvPr>
                <p:cNvGrpSpPr/>
                <p:nvPr/>
              </p:nvGrpSpPr>
              <p:grpSpPr>
                <a:xfrm>
                  <a:off x="7562851" y="1593977"/>
                  <a:ext cx="1142998" cy="307731"/>
                  <a:chOff x="7562850" y="1447801"/>
                  <a:chExt cx="1685925" cy="453903"/>
                </a:xfrm>
              </p:grpSpPr>
              <p:sp>
                <p:nvSpPr>
                  <p:cNvPr id="10" name="Rechthoek: afgeronde hoeken 9">
                    <a:extLst>
                      <a:ext uri="{FF2B5EF4-FFF2-40B4-BE49-F238E27FC236}">
                        <a16:creationId xmlns:a16="http://schemas.microsoft.com/office/drawing/2014/main" id="{974BC83B-0D40-448C-B691-622FF2305B6A}"/>
                      </a:ext>
                    </a:extLst>
                  </p:cNvPr>
                  <p:cNvSpPr/>
                  <p:nvPr/>
                </p:nvSpPr>
                <p:spPr>
                  <a:xfrm>
                    <a:off x="7562850" y="1447801"/>
                    <a:ext cx="1685925" cy="453903"/>
                  </a:xfrm>
                  <a:prstGeom prst="roundRect">
                    <a:avLst/>
                  </a:prstGeom>
                  <a:solidFill>
                    <a:srgbClr val="3B383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1" name="Rechthoek: afgeronde hoeken 10">
                    <a:extLst>
                      <a:ext uri="{FF2B5EF4-FFF2-40B4-BE49-F238E27FC236}">
                        <a16:creationId xmlns:a16="http://schemas.microsoft.com/office/drawing/2014/main" id="{620DE64C-E775-41E8-A0F5-A725E19FDFE6}"/>
                      </a:ext>
                    </a:extLst>
                  </p:cNvPr>
                  <p:cNvSpPr/>
                  <p:nvPr/>
                </p:nvSpPr>
                <p:spPr>
                  <a:xfrm>
                    <a:off x="7710682" y="1621431"/>
                    <a:ext cx="773113" cy="11253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2" name="Ovaal 11">
                    <a:extLst>
                      <a:ext uri="{FF2B5EF4-FFF2-40B4-BE49-F238E27FC236}">
                        <a16:creationId xmlns:a16="http://schemas.microsoft.com/office/drawing/2014/main" id="{9D9C6CBC-86F0-496B-8DD9-95C8D48E7E8B}"/>
                      </a:ext>
                    </a:extLst>
                  </p:cNvPr>
                  <p:cNvSpPr/>
                  <p:nvPr/>
                </p:nvSpPr>
                <p:spPr>
                  <a:xfrm>
                    <a:off x="8614959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66" name="Ovaal 65">
                    <a:extLst>
                      <a:ext uri="{FF2B5EF4-FFF2-40B4-BE49-F238E27FC236}">
                        <a16:creationId xmlns:a16="http://schemas.microsoft.com/office/drawing/2014/main" id="{E31759B2-47B1-4F10-9817-A9125D44064F}"/>
                      </a:ext>
                    </a:extLst>
                  </p:cNvPr>
                  <p:cNvSpPr/>
                  <p:nvPr/>
                </p:nvSpPr>
                <p:spPr>
                  <a:xfrm>
                    <a:off x="8819058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67" name="Ovaal 66">
                    <a:extLst>
                      <a:ext uri="{FF2B5EF4-FFF2-40B4-BE49-F238E27FC236}">
                        <a16:creationId xmlns:a16="http://schemas.microsoft.com/office/drawing/2014/main" id="{A954BA08-7AD0-49B0-B5BB-D383F0861799}"/>
                      </a:ext>
                    </a:extLst>
                  </p:cNvPr>
                  <p:cNvSpPr/>
                  <p:nvPr/>
                </p:nvSpPr>
                <p:spPr>
                  <a:xfrm>
                    <a:off x="9023157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grpSp>
              <p:nvGrpSpPr>
                <p:cNvPr id="69" name="Groep 68">
                  <a:extLst>
                    <a:ext uri="{FF2B5EF4-FFF2-40B4-BE49-F238E27FC236}">
                      <a16:creationId xmlns:a16="http://schemas.microsoft.com/office/drawing/2014/main" id="{46D84BFD-EAAE-4BF1-9305-A36FA7BC45BA}"/>
                    </a:ext>
                  </a:extLst>
                </p:cNvPr>
                <p:cNvGrpSpPr/>
                <p:nvPr/>
              </p:nvGrpSpPr>
              <p:grpSpPr>
                <a:xfrm>
                  <a:off x="7562850" y="1942853"/>
                  <a:ext cx="1142998" cy="307731"/>
                  <a:chOff x="7562850" y="1447801"/>
                  <a:chExt cx="1685925" cy="453903"/>
                </a:xfrm>
              </p:grpSpPr>
              <p:sp>
                <p:nvSpPr>
                  <p:cNvPr id="70" name="Rechthoek: afgeronde hoeken 69">
                    <a:extLst>
                      <a:ext uri="{FF2B5EF4-FFF2-40B4-BE49-F238E27FC236}">
                        <a16:creationId xmlns:a16="http://schemas.microsoft.com/office/drawing/2014/main" id="{7A5CCDF9-1B57-4B1E-8886-0C98FDF6DAF9}"/>
                      </a:ext>
                    </a:extLst>
                  </p:cNvPr>
                  <p:cNvSpPr/>
                  <p:nvPr/>
                </p:nvSpPr>
                <p:spPr>
                  <a:xfrm>
                    <a:off x="7562850" y="1447801"/>
                    <a:ext cx="1685925" cy="453903"/>
                  </a:xfrm>
                  <a:prstGeom prst="roundRect">
                    <a:avLst/>
                  </a:prstGeom>
                  <a:solidFill>
                    <a:srgbClr val="3B383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71" name="Rechthoek: afgeronde hoeken 70">
                    <a:extLst>
                      <a:ext uri="{FF2B5EF4-FFF2-40B4-BE49-F238E27FC236}">
                        <a16:creationId xmlns:a16="http://schemas.microsoft.com/office/drawing/2014/main" id="{8B6208D9-86E7-4F08-BD0C-76EE931283FA}"/>
                      </a:ext>
                    </a:extLst>
                  </p:cNvPr>
                  <p:cNvSpPr/>
                  <p:nvPr/>
                </p:nvSpPr>
                <p:spPr>
                  <a:xfrm>
                    <a:off x="7710682" y="1621431"/>
                    <a:ext cx="773113" cy="11253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72" name="Ovaal 71">
                    <a:extLst>
                      <a:ext uri="{FF2B5EF4-FFF2-40B4-BE49-F238E27FC236}">
                        <a16:creationId xmlns:a16="http://schemas.microsoft.com/office/drawing/2014/main" id="{3975E613-16F7-48CC-B899-D5E215B52B4B}"/>
                      </a:ext>
                    </a:extLst>
                  </p:cNvPr>
                  <p:cNvSpPr/>
                  <p:nvPr/>
                </p:nvSpPr>
                <p:spPr>
                  <a:xfrm>
                    <a:off x="8614959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73" name="Ovaal 72">
                    <a:extLst>
                      <a:ext uri="{FF2B5EF4-FFF2-40B4-BE49-F238E27FC236}">
                        <a16:creationId xmlns:a16="http://schemas.microsoft.com/office/drawing/2014/main" id="{23319281-4A1D-4E8F-86DA-D2717A43A404}"/>
                      </a:ext>
                    </a:extLst>
                  </p:cNvPr>
                  <p:cNvSpPr/>
                  <p:nvPr/>
                </p:nvSpPr>
                <p:spPr>
                  <a:xfrm>
                    <a:off x="8819058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74" name="Ovaal 73">
                    <a:extLst>
                      <a:ext uri="{FF2B5EF4-FFF2-40B4-BE49-F238E27FC236}">
                        <a16:creationId xmlns:a16="http://schemas.microsoft.com/office/drawing/2014/main" id="{F3FE9167-24B1-4E95-8025-9A79EA8BD235}"/>
                      </a:ext>
                    </a:extLst>
                  </p:cNvPr>
                  <p:cNvSpPr/>
                  <p:nvPr/>
                </p:nvSpPr>
                <p:spPr>
                  <a:xfrm>
                    <a:off x="9023157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grpSp>
              <p:nvGrpSpPr>
                <p:cNvPr id="75" name="Groep 74">
                  <a:extLst>
                    <a:ext uri="{FF2B5EF4-FFF2-40B4-BE49-F238E27FC236}">
                      <a16:creationId xmlns:a16="http://schemas.microsoft.com/office/drawing/2014/main" id="{E5287DC3-41EA-4896-B4A4-C05935CF3ADB}"/>
                    </a:ext>
                  </a:extLst>
                </p:cNvPr>
                <p:cNvGrpSpPr/>
                <p:nvPr/>
              </p:nvGrpSpPr>
              <p:grpSpPr>
                <a:xfrm>
                  <a:off x="7562850" y="2291731"/>
                  <a:ext cx="1142998" cy="307731"/>
                  <a:chOff x="7562850" y="1447801"/>
                  <a:chExt cx="1685925" cy="453903"/>
                </a:xfrm>
              </p:grpSpPr>
              <p:sp>
                <p:nvSpPr>
                  <p:cNvPr id="76" name="Rechthoek: afgeronde hoeken 75">
                    <a:extLst>
                      <a:ext uri="{FF2B5EF4-FFF2-40B4-BE49-F238E27FC236}">
                        <a16:creationId xmlns:a16="http://schemas.microsoft.com/office/drawing/2014/main" id="{C00D4C49-2598-4BF2-8EE5-4ACF7B425667}"/>
                      </a:ext>
                    </a:extLst>
                  </p:cNvPr>
                  <p:cNvSpPr/>
                  <p:nvPr/>
                </p:nvSpPr>
                <p:spPr>
                  <a:xfrm>
                    <a:off x="7562850" y="1447801"/>
                    <a:ext cx="1685925" cy="453903"/>
                  </a:xfrm>
                  <a:prstGeom prst="roundRect">
                    <a:avLst/>
                  </a:prstGeom>
                  <a:solidFill>
                    <a:srgbClr val="3B383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78" name="Rechthoek: afgeronde hoeken 77">
                    <a:extLst>
                      <a:ext uri="{FF2B5EF4-FFF2-40B4-BE49-F238E27FC236}">
                        <a16:creationId xmlns:a16="http://schemas.microsoft.com/office/drawing/2014/main" id="{A999EADC-B901-43D9-852F-FF2C229A94EC}"/>
                      </a:ext>
                    </a:extLst>
                  </p:cNvPr>
                  <p:cNvSpPr/>
                  <p:nvPr/>
                </p:nvSpPr>
                <p:spPr>
                  <a:xfrm>
                    <a:off x="7710682" y="1621431"/>
                    <a:ext cx="773113" cy="11253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79" name="Ovaal 78">
                    <a:extLst>
                      <a:ext uri="{FF2B5EF4-FFF2-40B4-BE49-F238E27FC236}">
                        <a16:creationId xmlns:a16="http://schemas.microsoft.com/office/drawing/2014/main" id="{E1D4A077-D0F8-4C93-888F-FE7C3778A79E}"/>
                      </a:ext>
                    </a:extLst>
                  </p:cNvPr>
                  <p:cNvSpPr/>
                  <p:nvPr/>
                </p:nvSpPr>
                <p:spPr>
                  <a:xfrm>
                    <a:off x="8614959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80" name="Ovaal 79">
                    <a:extLst>
                      <a:ext uri="{FF2B5EF4-FFF2-40B4-BE49-F238E27FC236}">
                        <a16:creationId xmlns:a16="http://schemas.microsoft.com/office/drawing/2014/main" id="{1537708C-78D6-448E-B54C-44393061BE27}"/>
                      </a:ext>
                    </a:extLst>
                  </p:cNvPr>
                  <p:cNvSpPr/>
                  <p:nvPr/>
                </p:nvSpPr>
                <p:spPr>
                  <a:xfrm>
                    <a:off x="8819058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81" name="Ovaal 80">
                    <a:extLst>
                      <a:ext uri="{FF2B5EF4-FFF2-40B4-BE49-F238E27FC236}">
                        <a16:creationId xmlns:a16="http://schemas.microsoft.com/office/drawing/2014/main" id="{2D79319C-E81D-441B-873A-8DA623C07C17}"/>
                      </a:ext>
                    </a:extLst>
                  </p:cNvPr>
                  <p:cNvSpPr/>
                  <p:nvPr/>
                </p:nvSpPr>
                <p:spPr>
                  <a:xfrm>
                    <a:off x="9023157" y="1621430"/>
                    <a:ext cx="112536" cy="11253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sp>
              <p:nvSpPr>
                <p:cNvPr id="82" name="Rechthoek: afgeronde hoeken 81">
                  <a:extLst>
                    <a:ext uri="{FF2B5EF4-FFF2-40B4-BE49-F238E27FC236}">
                      <a16:creationId xmlns:a16="http://schemas.microsoft.com/office/drawing/2014/main" id="{A8F78218-2888-4B98-AF34-2136DC4551AC}"/>
                    </a:ext>
                  </a:extLst>
                </p:cNvPr>
                <p:cNvSpPr/>
                <p:nvPr/>
              </p:nvSpPr>
              <p:spPr>
                <a:xfrm>
                  <a:off x="7562846" y="2640607"/>
                  <a:ext cx="1142998" cy="307731"/>
                </a:xfrm>
                <a:prstGeom prst="roundRect">
                  <a:avLst/>
                </a:prstGeom>
                <a:solidFill>
                  <a:srgbClr val="3B38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  <p:sp>
              <p:nvSpPr>
                <p:cNvPr id="14" name="Trapezium 13">
                  <a:extLst>
                    <a:ext uri="{FF2B5EF4-FFF2-40B4-BE49-F238E27FC236}">
                      <a16:creationId xmlns:a16="http://schemas.microsoft.com/office/drawing/2014/main" id="{72D26F9A-5D4D-467E-A11E-50C8D1219BB7}"/>
                    </a:ext>
                  </a:extLst>
                </p:cNvPr>
                <p:cNvSpPr/>
                <p:nvPr/>
              </p:nvSpPr>
              <p:spPr>
                <a:xfrm>
                  <a:off x="7562849" y="1414463"/>
                  <a:ext cx="1142998" cy="130156"/>
                </a:xfrm>
                <a:prstGeom prst="trapezoid">
                  <a:avLst>
                    <a:gd name="adj" fmla="val 52442"/>
                  </a:avLst>
                </a:prstGeom>
                <a:solidFill>
                  <a:srgbClr val="3B38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NL"/>
                </a:p>
              </p:txBody>
            </p:sp>
          </p:grpSp>
        </p:grpSp>
        <p:grpSp>
          <p:nvGrpSpPr>
            <p:cNvPr id="297" name="Groep 296">
              <a:extLst>
                <a:ext uri="{FF2B5EF4-FFF2-40B4-BE49-F238E27FC236}">
                  <a16:creationId xmlns:a16="http://schemas.microsoft.com/office/drawing/2014/main" id="{50331D50-AEE5-4516-9BF6-5FE0D2F793D4}"/>
                </a:ext>
              </a:extLst>
            </p:cNvPr>
            <p:cNvGrpSpPr/>
            <p:nvPr/>
          </p:nvGrpSpPr>
          <p:grpSpPr>
            <a:xfrm>
              <a:off x="9232294" y="1400078"/>
              <a:ext cx="1414929" cy="1492750"/>
              <a:chOff x="9232294" y="1400078"/>
              <a:chExt cx="1414929" cy="1492750"/>
            </a:xfrm>
          </p:grpSpPr>
          <p:sp>
            <p:nvSpPr>
              <p:cNvPr id="243" name="Gelijkbenige driehoek 242">
                <a:extLst>
                  <a:ext uri="{FF2B5EF4-FFF2-40B4-BE49-F238E27FC236}">
                    <a16:creationId xmlns:a16="http://schemas.microsoft.com/office/drawing/2014/main" id="{D4B86B08-2D9F-452C-B190-423EEDBFD1B8}"/>
                  </a:ext>
                </a:extLst>
              </p:cNvPr>
              <p:cNvSpPr/>
              <p:nvPr/>
            </p:nvSpPr>
            <p:spPr>
              <a:xfrm rot="12724460">
                <a:off x="9232294" y="2166922"/>
                <a:ext cx="433278" cy="725906"/>
              </a:xfrm>
              <a:prstGeom prst="triangle">
                <a:avLst>
                  <a:gd name="adj" fmla="val 61718"/>
                </a:avLst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grpSp>
            <p:nvGrpSpPr>
              <p:cNvPr id="244" name="Groep 243">
                <a:extLst>
                  <a:ext uri="{FF2B5EF4-FFF2-40B4-BE49-F238E27FC236}">
                    <a16:creationId xmlns:a16="http://schemas.microsoft.com/office/drawing/2014/main" id="{68C3F5B0-0314-4D28-9B11-B140A01309E4}"/>
                  </a:ext>
                </a:extLst>
              </p:cNvPr>
              <p:cNvGrpSpPr/>
              <p:nvPr/>
            </p:nvGrpSpPr>
            <p:grpSpPr>
              <a:xfrm>
                <a:off x="9445898" y="1400078"/>
                <a:ext cx="1201325" cy="1010922"/>
                <a:chOff x="9445898" y="1400078"/>
                <a:chExt cx="1201325" cy="1010922"/>
              </a:xfrm>
            </p:grpSpPr>
            <p:grpSp>
              <p:nvGrpSpPr>
                <p:cNvPr id="114" name="Groep 113">
                  <a:extLst>
                    <a:ext uri="{FF2B5EF4-FFF2-40B4-BE49-F238E27FC236}">
                      <a16:creationId xmlns:a16="http://schemas.microsoft.com/office/drawing/2014/main" id="{68A38D7D-E90A-4226-9AE1-591F35EF9D0B}"/>
                    </a:ext>
                  </a:extLst>
                </p:cNvPr>
                <p:cNvGrpSpPr/>
                <p:nvPr/>
              </p:nvGrpSpPr>
              <p:grpSpPr>
                <a:xfrm>
                  <a:off x="9445898" y="1400078"/>
                  <a:ext cx="1201325" cy="1010922"/>
                  <a:chOff x="9296997" y="1493060"/>
                  <a:chExt cx="1201325" cy="1010922"/>
                </a:xfrm>
              </p:grpSpPr>
              <p:sp>
                <p:nvSpPr>
                  <p:cNvPr id="113" name="Rechthoek: afgeronde hoeken 112">
                    <a:extLst>
                      <a:ext uri="{FF2B5EF4-FFF2-40B4-BE49-F238E27FC236}">
                        <a16:creationId xmlns:a16="http://schemas.microsoft.com/office/drawing/2014/main" id="{A26024BC-51E8-4C0D-9426-0EFF8B3D488A}"/>
                      </a:ext>
                    </a:extLst>
                  </p:cNvPr>
                  <p:cNvSpPr/>
                  <p:nvPr/>
                </p:nvSpPr>
                <p:spPr>
                  <a:xfrm>
                    <a:off x="9296997" y="1493060"/>
                    <a:ext cx="1201325" cy="1010922"/>
                  </a:xfrm>
                  <a:prstGeom prst="roundRect">
                    <a:avLst/>
                  </a:prstGeom>
                  <a:solidFill>
                    <a:srgbClr val="C8191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65" name="Rechthoek: afgeronde hoeken 164">
                    <a:extLst>
                      <a:ext uri="{FF2B5EF4-FFF2-40B4-BE49-F238E27FC236}">
                        <a16:creationId xmlns:a16="http://schemas.microsoft.com/office/drawing/2014/main" id="{E5458B2D-EFA3-4F9C-8E17-B2FDB70F7919}"/>
                      </a:ext>
                    </a:extLst>
                  </p:cNvPr>
                  <p:cNvSpPr/>
                  <p:nvPr/>
                </p:nvSpPr>
                <p:spPr>
                  <a:xfrm>
                    <a:off x="9364743" y="1549355"/>
                    <a:ext cx="1065832" cy="896904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grpSp>
              <p:nvGrpSpPr>
                <p:cNvPr id="196" name="Groep 195">
                  <a:extLst>
                    <a:ext uri="{FF2B5EF4-FFF2-40B4-BE49-F238E27FC236}">
                      <a16:creationId xmlns:a16="http://schemas.microsoft.com/office/drawing/2014/main" id="{C0C1A4F9-29F7-4710-8FB9-3CA553072729}"/>
                    </a:ext>
                  </a:extLst>
                </p:cNvPr>
                <p:cNvGrpSpPr/>
                <p:nvPr/>
              </p:nvGrpSpPr>
              <p:grpSpPr>
                <a:xfrm>
                  <a:off x="9596898" y="1449955"/>
                  <a:ext cx="901421" cy="308426"/>
                  <a:chOff x="9596898" y="1449955"/>
                  <a:chExt cx="901421" cy="308426"/>
                </a:xfrm>
              </p:grpSpPr>
              <p:sp>
                <p:nvSpPr>
                  <p:cNvPr id="166" name="Rechthoek: afgeronde hoeken 165">
                    <a:extLst>
                      <a:ext uri="{FF2B5EF4-FFF2-40B4-BE49-F238E27FC236}">
                        <a16:creationId xmlns:a16="http://schemas.microsoft.com/office/drawing/2014/main" id="{7C9FAF36-7A09-4E42-821F-BD19D3AAB327}"/>
                      </a:ext>
                    </a:extLst>
                  </p:cNvPr>
                  <p:cNvSpPr/>
                  <p:nvPr/>
                </p:nvSpPr>
                <p:spPr>
                  <a:xfrm>
                    <a:off x="9596898" y="1507678"/>
                    <a:ext cx="901421" cy="250703"/>
                  </a:xfrm>
                  <a:prstGeom prst="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15" name="Tekstvak 114">
                    <a:extLst>
                      <a:ext uri="{FF2B5EF4-FFF2-40B4-BE49-F238E27FC236}">
                        <a16:creationId xmlns:a16="http://schemas.microsoft.com/office/drawing/2014/main" id="{8417C06B-319C-4CC0-98B9-5C951283BE20}"/>
                      </a:ext>
                    </a:extLst>
                  </p:cNvPr>
                  <p:cNvSpPr txBox="1"/>
                  <p:nvPr/>
                </p:nvSpPr>
                <p:spPr>
                  <a:xfrm>
                    <a:off x="9768124" y="1449955"/>
                    <a:ext cx="558969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nl-NL" sz="8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Person A</a:t>
                    </a:r>
                    <a:endParaRPr lang="en-NL" sz="8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  <p:pic>
                <p:nvPicPr>
                  <p:cNvPr id="117" name="Afbeelding 116">
                    <a:extLst>
                      <a:ext uri="{FF2B5EF4-FFF2-40B4-BE49-F238E27FC236}">
                        <a16:creationId xmlns:a16="http://schemas.microsoft.com/office/drawing/2014/main" id="{CA4DA6A1-C7E9-439B-A422-09847BEBD03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660294" y="1561157"/>
                    <a:ext cx="162659" cy="162659"/>
                  </a:xfrm>
                  <a:prstGeom prst="rect">
                    <a:avLst/>
                  </a:prstGeom>
                </p:spPr>
              </p:pic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F0FE4F7-2E2A-419E-9A40-A4676445D0AF}"/>
                      </a:ext>
                    </a:extLst>
                  </p:cNvPr>
                  <p:cNvGrpSpPr/>
                  <p:nvPr/>
                </p:nvGrpSpPr>
                <p:grpSpPr>
                  <a:xfrm>
                    <a:off x="10080083" y="1610351"/>
                    <a:ext cx="367843" cy="130880"/>
                    <a:chOff x="9952398" y="1652567"/>
                    <a:chExt cx="367843" cy="130880"/>
                  </a:xfrm>
                </p:grpSpPr>
                <p:cxnSp>
                  <p:nvCxnSpPr>
                    <p:cNvPr id="184" name="Rechte verbindingslijn 183">
                      <a:extLst>
                        <a:ext uri="{FF2B5EF4-FFF2-40B4-BE49-F238E27FC236}">
                          <a16:creationId xmlns:a16="http://schemas.microsoft.com/office/drawing/2014/main" id="{FC33AB72-1F8F-422F-B9DB-8EC407D98BC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952398" y="1783447"/>
                      <a:ext cx="367843" cy="0"/>
                    </a:xfrm>
                    <a:prstGeom prst="line">
                      <a:avLst/>
                    </a:prstGeom>
                    <a:ln>
                      <a:solidFill>
                        <a:srgbClr val="3B3838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86" name="Rechthoek: afgeronde hoeken 185">
                      <a:extLst>
                        <a:ext uri="{FF2B5EF4-FFF2-40B4-BE49-F238E27FC236}">
                          <a16:creationId xmlns:a16="http://schemas.microsoft.com/office/drawing/2014/main" id="{7F1A0277-0F96-4EBA-BB4F-F2F48457F9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73499" y="1652567"/>
                      <a:ext cx="45719" cy="128950"/>
                    </a:xfrm>
                    <a:prstGeom prst="roundRect">
                      <a:avLst/>
                    </a:prstGeom>
                    <a:solidFill>
                      <a:srgbClr val="C8191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187" name="Rechthoek: afgeronde hoeken 186">
                      <a:extLst>
                        <a:ext uri="{FF2B5EF4-FFF2-40B4-BE49-F238E27FC236}">
                          <a16:creationId xmlns:a16="http://schemas.microsoft.com/office/drawing/2014/main" id="{A8D55C93-031F-4ABC-A235-37D58B6CD2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41039" y="1719263"/>
                      <a:ext cx="45719" cy="62254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189" name="Rechthoek: afgeronde hoeken 188">
                      <a:extLst>
                        <a:ext uri="{FF2B5EF4-FFF2-40B4-BE49-F238E27FC236}">
                          <a16:creationId xmlns:a16="http://schemas.microsoft.com/office/drawing/2014/main" id="{7155E768-4DF0-43C7-82B2-D73723856C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08579" y="1735797"/>
                      <a:ext cx="45719" cy="45719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190" name="Rechthoek: afgeronde hoeken 189">
                      <a:extLst>
                        <a:ext uri="{FF2B5EF4-FFF2-40B4-BE49-F238E27FC236}">
                          <a16:creationId xmlns:a16="http://schemas.microsoft.com/office/drawing/2014/main" id="{57EC790C-5DC4-4474-ADDC-3A62854B4B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76119" y="1690687"/>
                      <a:ext cx="45719" cy="90829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191" name="Rechthoek: afgeronde hoeken 190">
                      <a:extLst>
                        <a:ext uri="{FF2B5EF4-FFF2-40B4-BE49-F238E27FC236}">
                          <a16:creationId xmlns:a16="http://schemas.microsoft.com/office/drawing/2014/main" id="{07354A3D-220E-4B16-806C-EC31164AA9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243661" y="1704975"/>
                      <a:ext cx="45719" cy="76542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</p:grpSp>
              <p:sp>
                <p:nvSpPr>
                  <p:cNvPr id="194" name="Rechthoek: afgeronde hoeken 193">
                    <a:extLst>
                      <a:ext uri="{FF2B5EF4-FFF2-40B4-BE49-F238E27FC236}">
                        <a16:creationId xmlns:a16="http://schemas.microsoft.com/office/drawing/2014/main" id="{DCDA01D6-D5D2-4E3B-9EEE-C3B6DC416B18}"/>
                      </a:ext>
                    </a:extLst>
                  </p:cNvPr>
                  <p:cNvSpPr/>
                  <p:nvPr/>
                </p:nvSpPr>
                <p:spPr>
                  <a:xfrm>
                    <a:off x="9877726" y="1624397"/>
                    <a:ext cx="168768" cy="45719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95" name="Rechthoek: afgeronde hoeken 194">
                    <a:extLst>
                      <a:ext uri="{FF2B5EF4-FFF2-40B4-BE49-F238E27FC236}">
                        <a16:creationId xmlns:a16="http://schemas.microsoft.com/office/drawing/2014/main" id="{053183CB-38A7-424C-8A2C-05D00E5057CC}"/>
                      </a:ext>
                    </a:extLst>
                  </p:cNvPr>
                  <p:cNvSpPr/>
                  <p:nvPr/>
                </p:nvSpPr>
                <p:spPr>
                  <a:xfrm>
                    <a:off x="9877726" y="1679814"/>
                    <a:ext cx="168768" cy="45719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grpSp>
              <p:nvGrpSpPr>
                <p:cNvPr id="197" name="Groep 196">
                  <a:extLst>
                    <a:ext uri="{FF2B5EF4-FFF2-40B4-BE49-F238E27FC236}">
                      <a16:creationId xmlns:a16="http://schemas.microsoft.com/office/drawing/2014/main" id="{8E94D9EE-FF28-4657-906A-7508DBE83405}"/>
                    </a:ext>
                  </a:extLst>
                </p:cNvPr>
                <p:cNvGrpSpPr/>
                <p:nvPr/>
              </p:nvGrpSpPr>
              <p:grpSpPr>
                <a:xfrm>
                  <a:off x="9596898" y="1722509"/>
                  <a:ext cx="901421" cy="308426"/>
                  <a:chOff x="9596898" y="1449955"/>
                  <a:chExt cx="901421" cy="308426"/>
                </a:xfrm>
              </p:grpSpPr>
              <p:sp>
                <p:nvSpPr>
                  <p:cNvPr id="198" name="Rechthoek: afgeronde hoeken 197">
                    <a:extLst>
                      <a:ext uri="{FF2B5EF4-FFF2-40B4-BE49-F238E27FC236}">
                        <a16:creationId xmlns:a16="http://schemas.microsoft.com/office/drawing/2014/main" id="{1AE9A5EB-1D97-40B8-9562-B70333E600F8}"/>
                      </a:ext>
                    </a:extLst>
                  </p:cNvPr>
                  <p:cNvSpPr/>
                  <p:nvPr/>
                </p:nvSpPr>
                <p:spPr>
                  <a:xfrm>
                    <a:off x="9596898" y="1507678"/>
                    <a:ext cx="901421" cy="250703"/>
                  </a:xfrm>
                  <a:prstGeom prst="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99" name="Tekstvak 198">
                    <a:extLst>
                      <a:ext uri="{FF2B5EF4-FFF2-40B4-BE49-F238E27FC236}">
                        <a16:creationId xmlns:a16="http://schemas.microsoft.com/office/drawing/2014/main" id="{36EBC983-19B8-45C5-8315-F04F2F7B817B}"/>
                      </a:ext>
                    </a:extLst>
                  </p:cNvPr>
                  <p:cNvSpPr txBox="1"/>
                  <p:nvPr/>
                </p:nvSpPr>
                <p:spPr>
                  <a:xfrm>
                    <a:off x="9768124" y="1449955"/>
                    <a:ext cx="558969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nl-NL" sz="8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Person B</a:t>
                    </a:r>
                    <a:endParaRPr lang="en-NL" sz="8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  <p:pic>
                <p:nvPicPr>
                  <p:cNvPr id="200" name="Afbeelding 199">
                    <a:extLst>
                      <a:ext uri="{FF2B5EF4-FFF2-40B4-BE49-F238E27FC236}">
                        <a16:creationId xmlns:a16="http://schemas.microsoft.com/office/drawing/2014/main" id="{8A86ED7A-D620-4B08-A992-879351C5622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660294" y="1561157"/>
                    <a:ext cx="162659" cy="162659"/>
                  </a:xfrm>
                  <a:prstGeom prst="rect">
                    <a:avLst/>
                  </a:prstGeom>
                </p:spPr>
              </p:pic>
              <p:grpSp>
                <p:nvGrpSpPr>
                  <p:cNvPr id="201" name="Groep 200">
                    <a:extLst>
                      <a:ext uri="{FF2B5EF4-FFF2-40B4-BE49-F238E27FC236}">
                        <a16:creationId xmlns:a16="http://schemas.microsoft.com/office/drawing/2014/main" id="{45535594-5D5F-49F2-809D-6E642C416F8A}"/>
                      </a:ext>
                    </a:extLst>
                  </p:cNvPr>
                  <p:cNvGrpSpPr/>
                  <p:nvPr/>
                </p:nvGrpSpPr>
                <p:grpSpPr>
                  <a:xfrm>
                    <a:off x="10080083" y="1611015"/>
                    <a:ext cx="367843" cy="130216"/>
                    <a:chOff x="9952398" y="1653231"/>
                    <a:chExt cx="367843" cy="130216"/>
                  </a:xfrm>
                </p:grpSpPr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A2D757D6-8A4E-4413-9911-D3697BC8D4E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952398" y="1783447"/>
                      <a:ext cx="367843" cy="0"/>
                    </a:xfrm>
                    <a:prstGeom prst="line">
                      <a:avLst/>
                    </a:prstGeom>
                    <a:ln>
                      <a:solidFill>
                        <a:srgbClr val="3B3838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205" name="Rechthoek: afgeronde hoeken 204">
                      <a:extLst>
                        <a:ext uri="{FF2B5EF4-FFF2-40B4-BE49-F238E27FC236}">
                          <a16:creationId xmlns:a16="http://schemas.microsoft.com/office/drawing/2014/main" id="{00826A02-EAC1-4700-8C1F-76C7147713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73499" y="1722287"/>
                      <a:ext cx="45719" cy="59230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06" name="Rechthoek: afgeronde hoeken 205">
                      <a:extLst>
                        <a:ext uri="{FF2B5EF4-FFF2-40B4-BE49-F238E27FC236}">
                          <a16:creationId xmlns:a16="http://schemas.microsoft.com/office/drawing/2014/main" id="{CE986547-5B54-4BD1-8E2A-7B5C83A362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41039" y="1653231"/>
                      <a:ext cx="45719" cy="128286"/>
                    </a:xfrm>
                    <a:prstGeom prst="roundRect">
                      <a:avLst/>
                    </a:prstGeom>
                    <a:solidFill>
                      <a:srgbClr val="C8191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07" name="Rechthoek: afgeronde hoeken 206">
                      <a:extLst>
                        <a:ext uri="{FF2B5EF4-FFF2-40B4-BE49-F238E27FC236}">
                          <a16:creationId xmlns:a16="http://schemas.microsoft.com/office/drawing/2014/main" id="{E22A1089-DE31-4B4C-B63D-3A86B946AE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08579" y="1662757"/>
                      <a:ext cx="45719" cy="118760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08" name="Rechthoek: afgeronde hoeken 207">
                      <a:extLst>
                        <a:ext uri="{FF2B5EF4-FFF2-40B4-BE49-F238E27FC236}">
                          <a16:creationId xmlns:a16="http://schemas.microsoft.com/office/drawing/2014/main" id="{EB742283-22E5-4AB3-85C8-32026A3720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76119" y="1717525"/>
                      <a:ext cx="52252" cy="63991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09" name="Rechthoek: afgeronde hoeken 208">
                      <a:extLst>
                        <a:ext uri="{FF2B5EF4-FFF2-40B4-BE49-F238E27FC236}">
                          <a16:creationId xmlns:a16="http://schemas.microsoft.com/office/drawing/2014/main" id="{47B43DB4-1EA6-4F93-A8DF-321D7F5EB7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243661" y="1735797"/>
                      <a:ext cx="46623" cy="45719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</p:grpSp>
              <p:sp>
                <p:nvSpPr>
                  <p:cNvPr id="202" name="Rechthoek: afgeronde hoeken 201">
                    <a:extLst>
                      <a:ext uri="{FF2B5EF4-FFF2-40B4-BE49-F238E27FC236}">
                        <a16:creationId xmlns:a16="http://schemas.microsoft.com/office/drawing/2014/main" id="{96C8844A-C84F-4FF2-BE47-341D1E62A6A9}"/>
                      </a:ext>
                    </a:extLst>
                  </p:cNvPr>
                  <p:cNvSpPr/>
                  <p:nvPr/>
                </p:nvSpPr>
                <p:spPr>
                  <a:xfrm>
                    <a:off x="9877726" y="1624397"/>
                    <a:ext cx="168768" cy="45719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03" name="Rechthoek: afgeronde hoeken 202">
                    <a:extLst>
                      <a:ext uri="{FF2B5EF4-FFF2-40B4-BE49-F238E27FC236}">
                        <a16:creationId xmlns:a16="http://schemas.microsoft.com/office/drawing/2014/main" id="{1EAF175A-A425-42DD-AFC9-FE3F3CA4A78A}"/>
                      </a:ext>
                    </a:extLst>
                  </p:cNvPr>
                  <p:cNvSpPr/>
                  <p:nvPr/>
                </p:nvSpPr>
                <p:spPr>
                  <a:xfrm>
                    <a:off x="9877726" y="1679814"/>
                    <a:ext cx="168768" cy="45719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grpSp>
              <p:nvGrpSpPr>
                <p:cNvPr id="210" name="Groep 209">
                  <a:extLst>
                    <a:ext uri="{FF2B5EF4-FFF2-40B4-BE49-F238E27FC236}">
                      <a16:creationId xmlns:a16="http://schemas.microsoft.com/office/drawing/2014/main" id="{45D806C1-FDA7-45B5-B79F-A781D0865EF4}"/>
                    </a:ext>
                  </a:extLst>
                </p:cNvPr>
                <p:cNvGrpSpPr/>
                <p:nvPr/>
              </p:nvGrpSpPr>
              <p:grpSpPr>
                <a:xfrm>
                  <a:off x="9596898" y="1996825"/>
                  <a:ext cx="901421" cy="308426"/>
                  <a:chOff x="9596898" y="1449955"/>
                  <a:chExt cx="901421" cy="308426"/>
                </a:xfrm>
              </p:grpSpPr>
              <p:sp>
                <p:nvSpPr>
                  <p:cNvPr id="211" name="Rechthoek: afgeronde hoeken 210">
                    <a:extLst>
                      <a:ext uri="{FF2B5EF4-FFF2-40B4-BE49-F238E27FC236}">
                        <a16:creationId xmlns:a16="http://schemas.microsoft.com/office/drawing/2014/main" id="{0CB60237-3815-4D70-81B0-EB0D01BE68B1}"/>
                      </a:ext>
                    </a:extLst>
                  </p:cNvPr>
                  <p:cNvSpPr/>
                  <p:nvPr/>
                </p:nvSpPr>
                <p:spPr>
                  <a:xfrm>
                    <a:off x="9596898" y="1507678"/>
                    <a:ext cx="901421" cy="250703"/>
                  </a:xfrm>
                  <a:prstGeom prst="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12" name="Tekstvak 211">
                    <a:extLst>
                      <a:ext uri="{FF2B5EF4-FFF2-40B4-BE49-F238E27FC236}">
                        <a16:creationId xmlns:a16="http://schemas.microsoft.com/office/drawing/2014/main" id="{C4F4C4FA-0EBF-4479-BBD9-751B0E35EEE9}"/>
                      </a:ext>
                    </a:extLst>
                  </p:cNvPr>
                  <p:cNvSpPr txBox="1"/>
                  <p:nvPr/>
                </p:nvSpPr>
                <p:spPr>
                  <a:xfrm>
                    <a:off x="9768124" y="1449955"/>
                    <a:ext cx="558969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nl-NL" sz="8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Person C</a:t>
                    </a:r>
                    <a:endParaRPr lang="en-NL" sz="8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  <p:pic>
                <p:nvPicPr>
                  <p:cNvPr id="213" name="Afbeelding 212">
                    <a:extLst>
                      <a:ext uri="{FF2B5EF4-FFF2-40B4-BE49-F238E27FC236}">
                        <a16:creationId xmlns:a16="http://schemas.microsoft.com/office/drawing/2014/main" id="{12623AF7-6098-4A10-8103-D9783727EA9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660294" y="1561157"/>
                    <a:ext cx="162659" cy="162659"/>
                  </a:xfrm>
                  <a:prstGeom prst="rect">
                    <a:avLst/>
                  </a:prstGeom>
                </p:spPr>
              </p:pic>
              <p:grpSp>
                <p:nvGrpSpPr>
                  <p:cNvPr id="214" name="Groep 213">
                    <a:extLst>
                      <a:ext uri="{FF2B5EF4-FFF2-40B4-BE49-F238E27FC236}">
                        <a16:creationId xmlns:a16="http://schemas.microsoft.com/office/drawing/2014/main" id="{7A3861A0-8D07-4152-A6DE-D8551B2B0DE8}"/>
                      </a:ext>
                    </a:extLst>
                  </p:cNvPr>
                  <p:cNvGrpSpPr/>
                  <p:nvPr/>
                </p:nvGrpSpPr>
                <p:grpSpPr>
                  <a:xfrm>
                    <a:off x="10080083" y="1589111"/>
                    <a:ext cx="367843" cy="152120"/>
                    <a:chOff x="9952398" y="1631327"/>
                    <a:chExt cx="367843" cy="152120"/>
                  </a:xfrm>
                </p:grpSpPr>
                <p:cxnSp>
                  <p:nvCxnSpPr>
                    <p:cNvPr id="217" name="Rechte verbindingslijn 216">
                      <a:extLst>
                        <a:ext uri="{FF2B5EF4-FFF2-40B4-BE49-F238E27FC236}">
                          <a16:creationId xmlns:a16="http://schemas.microsoft.com/office/drawing/2014/main" id="{E78D9DD3-676F-45C3-9B71-DAF98838E5A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952398" y="1783447"/>
                      <a:ext cx="367843" cy="0"/>
                    </a:xfrm>
                    <a:prstGeom prst="line">
                      <a:avLst/>
                    </a:prstGeom>
                    <a:ln>
                      <a:solidFill>
                        <a:srgbClr val="3B3838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218" name="Rechthoek: afgeronde hoeken 217">
                      <a:extLst>
                        <a:ext uri="{FF2B5EF4-FFF2-40B4-BE49-F238E27FC236}">
                          <a16:creationId xmlns:a16="http://schemas.microsoft.com/office/drawing/2014/main" id="{B80AD688-B723-42C7-B2CE-06289D4F14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73499" y="1735797"/>
                      <a:ext cx="52466" cy="45719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19" name="Rechthoek: afgeronde hoeken 218">
                      <a:extLst>
                        <a:ext uri="{FF2B5EF4-FFF2-40B4-BE49-F238E27FC236}">
                          <a16:creationId xmlns:a16="http://schemas.microsoft.com/office/drawing/2014/main" id="{297149C5-7110-4A73-80AD-E2999745FD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41039" y="1719263"/>
                      <a:ext cx="45719" cy="62254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20" name="Rechthoek: afgeronde hoeken 219">
                      <a:extLst>
                        <a:ext uri="{FF2B5EF4-FFF2-40B4-BE49-F238E27FC236}">
                          <a16:creationId xmlns:a16="http://schemas.microsoft.com/office/drawing/2014/main" id="{3B1ECD26-F117-48BB-BF6A-4A03AAC9A2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08579" y="1735797"/>
                      <a:ext cx="45719" cy="45719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21" name="Rechthoek: afgeronde hoeken 220">
                      <a:extLst>
                        <a:ext uri="{FF2B5EF4-FFF2-40B4-BE49-F238E27FC236}">
                          <a16:creationId xmlns:a16="http://schemas.microsoft.com/office/drawing/2014/main" id="{9CA5D0CA-1CBC-4E7C-ABE7-5A1AC99FA7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76119" y="1659903"/>
                      <a:ext cx="45719" cy="121614"/>
                    </a:xfrm>
                    <a:prstGeom prst="roundRect">
                      <a:avLst/>
                    </a:prstGeom>
                    <a:solidFill>
                      <a:srgbClr val="ED7777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  <p:sp>
                  <p:nvSpPr>
                    <p:cNvPr id="222" name="Rechthoek: afgeronde hoeken 221">
                      <a:extLst>
                        <a:ext uri="{FF2B5EF4-FFF2-40B4-BE49-F238E27FC236}">
                          <a16:creationId xmlns:a16="http://schemas.microsoft.com/office/drawing/2014/main" id="{16387531-C8B7-4C4B-BF42-F40DB900C1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243661" y="1631327"/>
                      <a:ext cx="45719" cy="150190"/>
                    </a:xfrm>
                    <a:prstGeom prst="roundRect">
                      <a:avLst/>
                    </a:prstGeom>
                    <a:solidFill>
                      <a:srgbClr val="C8191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NL"/>
                    </a:p>
                  </p:txBody>
                </p:sp>
              </p:grpSp>
              <p:sp>
                <p:nvSpPr>
                  <p:cNvPr id="215" name="Rechthoek: afgeronde hoeken 214">
                    <a:extLst>
                      <a:ext uri="{FF2B5EF4-FFF2-40B4-BE49-F238E27FC236}">
                        <a16:creationId xmlns:a16="http://schemas.microsoft.com/office/drawing/2014/main" id="{C995B310-BB65-493B-A8DE-8CF20E3C4F99}"/>
                      </a:ext>
                    </a:extLst>
                  </p:cNvPr>
                  <p:cNvSpPr/>
                  <p:nvPr/>
                </p:nvSpPr>
                <p:spPr>
                  <a:xfrm>
                    <a:off x="9877726" y="1624397"/>
                    <a:ext cx="168768" cy="45719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16" name="Rechthoek: afgeronde hoeken 215">
                    <a:extLst>
                      <a:ext uri="{FF2B5EF4-FFF2-40B4-BE49-F238E27FC236}">
                        <a16:creationId xmlns:a16="http://schemas.microsoft.com/office/drawing/2014/main" id="{D984E0F8-BCE7-4D27-BC6B-30D09EF9CC7A}"/>
                      </a:ext>
                    </a:extLst>
                  </p:cNvPr>
                  <p:cNvSpPr/>
                  <p:nvPr/>
                </p:nvSpPr>
                <p:spPr>
                  <a:xfrm>
                    <a:off x="9877726" y="1679814"/>
                    <a:ext cx="168768" cy="45719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</p:grpSp>
        </p:grpSp>
      </p:grpSp>
      <p:grpSp>
        <p:nvGrpSpPr>
          <p:cNvPr id="296" name="Groep 295">
            <a:extLst>
              <a:ext uri="{FF2B5EF4-FFF2-40B4-BE49-F238E27FC236}">
                <a16:creationId xmlns:a16="http://schemas.microsoft.com/office/drawing/2014/main" id="{6B2AD1EF-45AC-452B-9212-502648AFCD19}"/>
              </a:ext>
            </a:extLst>
          </p:cNvPr>
          <p:cNvGrpSpPr/>
          <p:nvPr/>
        </p:nvGrpSpPr>
        <p:grpSpPr>
          <a:xfrm>
            <a:off x="5904302" y="3626714"/>
            <a:ext cx="4929346" cy="2319156"/>
            <a:chOff x="6442870" y="3686637"/>
            <a:chExt cx="4929346" cy="2319156"/>
          </a:xfrm>
        </p:grpSpPr>
        <p:grpSp>
          <p:nvGrpSpPr>
            <p:cNvPr id="277" name="Groep 276">
              <a:extLst>
                <a:ext uri="{FF2B5EF4-FFF2-40B4-BE49-F238E27FC236}">
                  <a16:creationId xmlns:a16="http://schemas.microsoft.com/office/drawing/2014/main" id="{14F35718-EEBD-4E9E-A5CE-497082191F23}"/>
                </a:ext>
              </a:extLst>
            </p:cNvPr>
            <p:cNvGrpSpPr/>
            <p:nvPr/>
          </p:nvGrpSpPr>
          <p:grpSpPr>
            <a:xfrm>
              <a:off x="6442870" y="3686637"/>
              <a:ext cx="2319156" cy="2319156"/>
              <a:chOff x="6442870" y="3658979"/>
              <a:chExt cx="2319156" cy="2319156"/>
            </a:xfrm>
          </p:grpSpPr>
          <p:sp>
            <p:nvSpPr>
              <p:cNvPr id="269" name="Ovaal 268">
                <a:extLst>
                  <a:ext uri="{FF2B5EF4-FFF2-40B4-BE49-F238E27FC236}">
                    <a16:creationId xmlns:a16="http://schemas.microsoft.com/office/drawing/2014/main" id="{F187F146-1BA1-4118-8E23-A5053DFBA49C}"/>
                  </a:ext>
                </a:extLst>
              </p:cNvPr>
              <p:cNvSpPr/>
              <p:nvPr/>
            </p:nvSpPr>
            <p:spPr>
              <a:xfrm>
                <a:off x="6442870" y="3658979"/>
                <a:ext cx="2319156" cy="231915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grpSp>
            <p:nvGrpSpPr>
              <p:cNvPr id="276" name="Groep 275">
                <a:extLst>
                  <a:ext uri="{FF2B5EF4-FFF2-40B4-BE49-F238E27FC236}">
                    <a16:creationId xmlns:a16="http://schemas.microsoft.com/office/drawing/2014/main" id="{EF3F6CA8-E241-462A-9CD8-8C19CED92F89}"/>
                  </a:ext>
                </a:extLst>
              </p:cNvPr>
              <p:cNvGrpSpPr/>
              <p:nvPr/>
            </p:nvGrpSpPr>
            <p:grpSpPr>
              <a:xfrm>
                <a:off x="6743941" y="4064991"/>
                <a:ext cx="1718414" cy="1558943"/>
                <a:chOff x="6743941" y="4064991"/>
                <a:chExt cx="1718414" cy="1558943"/>
              </a:xfrm>
            </p:grpSpPr>
            <p:grpSp>
              <p:nvGrpSpPr>
                <p:cNvPr id="273" name="Groep 272">
                  <a:extLst>
                    <a:ext uri="{FF2B5EF4-FFF2-40B4-BE49-F238E27FC236}">
                      <a16:creationId xmlns:a16="http://schemas.microsoft.com/office/drawing/2014/main" id="{F8628014-B43E-4118-A615-FDACEE6A0440}"/>
                    </a:ext>
                  </a:extLst>
                </p:cNvPr>
                <p:cNvGrpSpPr/>
                <p:nvPr/>
              </p:nvGrpSpPr>
              <p:grpSpPr>
                <a:xfrm>
                  <a:off x="7296244" y="4064991"/>
                  <a:ext cx="1166111" cy="877734"/>
                  <a:chOff x="7296244" y="4064991"/>
                  <a:chExt cx="1166111" cy="877734"/>
                </a:xfrm>
              </p:grpSpPr>
              <p:sp>
                <p:nvSpPr>
                  <p:cNvPr id="30" name="Rechthoek: afgeronde hoeken 29">
                    <a:extLst>
                      <a:ext uri="{FF2B5EF4-FFF2-40B4-BE49-F238E27FC236}">
                        <a16:creationId xmlns:a16="http://schemas.microsoft.com/office/drawing/2014/main" id="{87261322-1CDE-4868-85C8-A0E344C8B42A}"/>
                      </a:ext>
                    </a:extLst>
                  </p:cNvPr>
                  <p:cNvSpPr/>
                  <p:nvPr/>
                </p:nvSpPr>
                <p:spPr>
                  <a:xfrm>
                    <a:off x="7296244" y="4064991"/>
                    <a:ext cx="1166111" cy="734295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38100">
                    <a:solidFill>
                      <a:srgbClr val="3B3838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05" name="Rechthoek: afgeronde hoeken 104">
                    <a:extLst>
                      <a:ext uri="{FF2B5EF4-FFF2-40B4-BE49-F238E27FC236}">
                        <a16:creationId xmlns:a16="http://schemas.microsoft.com/office/drawing/2014/main" id="{CFECB28B-EB84-48B1-A62B-F3780FFBB382}"/>
                      </a:ext>
                    </a:extLst>
                  </p:cNvPr>
                  <p:cNvSpPr/>
                  <p:nvPr/>
                </p:nvSpPr>
                <p:spPr>
                  <a:xfrm>
                    <a:off x="7373189" y="4126480"/>
                    <a:ext cx="1018336" cy="573805"/>
                  </a:xfrm>
                  <a:prstGeom prst="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18" name="Rechthoek: afgeronde hoeken 117">
                    <a:extLst>
                      <a:ext uri="{FF2B5EF4-FFF2-40B4-BE49-F238E27FC236}">
                        <a16:creationId xmlns:a16="http://schemas.microsoft.com/office/drawing/2014/main" id="{126F406D-B1DA-4301-9F27-2F4E5FADBD6A}"/>
                      </a:ext>
                    </a:extLst>
                  </p:cNvPr>
                  <p:cNvSpPr/>
                  <p:nvPr/>
                </p:nvSpPr>
                <p:spPr>
                  <a:xfrm>
                    <a:off x="7979569" y="4292303"/>
                    <a:ext cx="364397" cy="297166"/>
                  </a:xfrm>
                  <a:prstGeom prst="roundRect">
                    <a:avLst/>
                  </a:prstGeom>
                  <a:solidFill>
                    <a:schemeClr val="bg2">
                      <a:lumMod val="9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cxnSp>
                <p:nvCxnSpPr>
                  <p:cNvPr id="104" name="Rechte verbindingslijn 103">
                    <a:extLst>
                      <a:ext uri="{FF2B5EF4-FFF2-40B4-BE49-F238E27FC236}">
                        <a16:creationId xmlns:a16="http://schemas.microsoft.com/office/drawing/2014/main" id="{F163A943-3AFC-48E7-9D89-716463390FEE}"/>
                      </a:ext>
                    </a:extLst>
                  </p:cNvPr>
                  <p:cNvCxnSpPr>
                    <a:cxnSpLocks/>
                    <a:stCxn id="30" idx="2"/>
                  </p:cNvCxnSpPr>
                  <p:nvPr/>
                </p:nvCxnSpPr>
                <p:spPr>
                  <a:xfrm>
                    <a:off x="7879302" y="4799286"/>
                    <a:ext cx="0" cy="143439"/>
                  </a:xfrm>
                  <a:prstGeom prst="line">
                    <a:avLst/>
                  </a:prstGeom>
                  <a:ln w="38100" cap="rnd">
                    <a:solidFill>
                      <a:srgbClr val="3B383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Rechte verbindingslijn 106">
                    <a:extLst>
                      <a:ext uri="{FF2B5EF4-FFF2-40B4-BE49-F238E27FC236}">
                        <a16:creationId xmlns:a16="http://schemas.microsoft.com/office/drawing/2014/main" id="{314CF866-39B1-411B-8EF4-C09180CD202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7701221" y="4942725"/>
                    <a:ext cx="356162" cy="0"/>
                  </a:xfrm>
                  <a:prstGeom prst="line">
                    <a:avLst/>
                  </a:prstGeom>
                  <a:ln w="38100" cap="rnd">
                    <a:solidFill>
                      <a:srgbClr val="3B383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6" name="Tekstvak 95">
                    <a:extLst>
                      <a:ext uri="{FF2B5EF4-FFF2-40B4-BE49-F238E27FC236}">
                        <a16:creationId xmlns:a16="http://schemas.microsoft.com/office/drawing/2014/main" id="{8EF01006-79F3-4483-BBA0-5A59B2A7FD36}"/>
                      </a:ext>
                    </a:extLst>
                  </p:cNvPr>
                  <p:cNvSpPr txBox="1"/>
                  <p:nvPr/>
                </p:nvSpPr>
                <p:spPr>
                  <a:xfrm>
                    <a:off x="7349717" y="4108184"/>
                    <a:ext cx="1059169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nl-NL" sz="800" b="1" dirty="0">
                        <a:solidFill>
                          <a:srgbClr val="C00000"/>
                        </a:solidFill>
                        <a:latin typeface="Arial Black" panose="020B0A04020102020204" pitchFamily="34" charset="0"/>
                        <a:ea typeface="Segoe UI Black" panose="020B0A02040204020203" pitchFamily="34" charset="0"/>
                      </a:rPr>
                      <a:t>LIMITED TIME OFFER!</a:t>
                    </a:r>
                    <a:endParaRPr lang="en-NL" sz="800" b="1" dirty="0">
                      <a:solidFill>
                        <a:srgbClr val="C00000"/>
                      </a:solidFill>
                      <a:latin typeface="Arial Black" panose="020B0A04020102020204" pitchFamily="34" charset="0"/>
                      <a:ea typeface="Segoe UI Black" panose="020B0A02040204020203" pitchFamily="34" charset="0"/>
                    </a:endParaRPr>
                  </a:p>
                </p:txBody>
              </p:sp>
              <p:pic>
                <p:nvPicPr>
                  <p:cNvPr id="100" name="Afbeelding 99">
                    <a:extLst>
                      <a:ext uri="{FF2B5EF4-FFF2-40B4-BE49-F238E27FC236}">
                        <a16:creationId xmlns:a16="http://schemas.microsoft.com/office/drawing/2014/main" id="{31F101B6-8C24-4649-BC6A-35B57342D0A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005412" y="4269110"/>
                    <a:ext cx="338554" cy="338554"/>
                  </a:xfrm>
                  <a:prstGeom prst="rect">
                    <a:avLst/>
                  </a:prstGeom>
                </p:spPr>
              </p:pic>
              <p:sp>
                <p:nvSpPr>
                  <p:cNvPr id="119" name="Rechthoek: afgeronde hoeken 118">
                    <a:extLst>
                      <a:ext uri="{FF2B5EF4-FFF2-40B4-BE49-F238E27FC236}">
                        <a16:creationId xmlns:a16="http://schemas.microsoft.com/office/drawing/2014/main" id="{767C0840-98CD-479A-A873-7E8BD0A6B688}"/>
                      </a:ext>
                    </a:extLst>
                  </p:cNvPr>
                  <p:cNvSpPr/>
                  <p:nvPr/>
                </p:nvSpPr>
                <p:spPr>
                  <a:xfrm>
                    <a:off x="7462708" y="4425404"/>
                    <a:ext cx="364397" cy="52567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2">
                      <a:lumMod val="9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121" name="Rechthoek: afgeronde hoeken 120">
                    <a:extLst>
                      <a:ext uri="{FF2B5EF4-FFF2-40B4-BE49-F238E27FC236}">
                        <a16:creationId xmlns:a16="http://schemas.microsoft.com/office/drawing/2014/main" id="{72DAB630-AB0A-463F-8D9F-1416A497663F}"/>
                      </a:ext>
                    </a:extLst>
                  </p:cNvPr>
                  <p:cNvSpPr/>
                  <p:nvPr/>
                </p:nvSpPr>
                <p:spPr>
                  <a:xfrm>
                    <a:off x="7461063" y="4500893"/>
                    <a:ext cx="364397" cy="52567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2">
                      <a:lumMod val="9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grpSp>
              <p:nvGrpSpPr>
                <p:cNvPr id="272" name="Groep 271">
                  <a:extLst>
                    <a:ext uri="{FF2B5EF4-FFF2-40B4-BE49-F238E27FC236}">
                      <a16:creationId xmlns:a16="http://schemas.microsoft.com/office/drawing/2014/main" id="{E72E4AD6-D324-4817-BD12-A8F192A74DD0}"/>
                    </a:ext>
                  </a:extLst>
                </p:cNvPr>
                <p:cNvGrpSpPr/>
                <p:nvPr/>
              </p:nvGrpSpPr>
              <p:grpSpPr>
                <a:xfrm>
                  <a:off x="6743941" y="4285269"/>
                  <a:ext cx="914400" cy="1338665"/>
                  <a:chOff x="6743941" y="4285269"/>
                  <a:chExt cx="914400" cy="1338665"/>
                </a:xfrm>
              </p:grpSpPr>
              <p:sp>
                <p:nvSpPr>
                  <p:cNvPr id="247" name="Ovaal 246">
                    <a:extLst>
                      <a:ext uri="{FF2B5EF4-FFF2-40B4-BE49-F238E27FC236}">
                        <a16:creationId xmlns:a16="http://schemas.microsoft.com/office/drawing/2014/main" id="{16D12D90-5EB8-4259-85B3-1AB27086699C}"/>
                      </a:ext>
                    </a:extLst>
                  </p:cNvPr>
                  <p:cNvSpPr/>
                  <p:nvPr/>
                </p:nvSpPr>
                <p:spPr>
                  <a:xfrm>
                    <a:off x="6960856" y="4285269"/>
                    <a:ext cx="456867" cy="456867"/>
                  </a:xfrm>
                  <a:prstGeom prst="ellipse">
                    <a:avLst/>
                  </a:prstGeom>
                  <a:solidFill>
                    <a:schemeClr val="bg1"/>
                  </a:solidFill>
                  <a:ln w="73025">
                    <a:solidFill>
                      <a:srgbClr val="3B3838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 dirty="0"/>
                  </a:p>
                </p:txBody>
              </p:sp>
              <p:sp>
                <p:nvSpPr>
                  <p:cNvPr id="248" name="Ovaal 247">
                    <a:extLst>
                      <a:ext uri="{FF2B5EF4-FFF2-40B4-BE49-F238E27FC236}">
                        <a16:creationId xmlns:a16="http://schemas.microsoft.com/office/drawing/2014/main" id="{F4443D0D-7662-4BCD-BBFF-7B29DB33DE45}"/>
                      </a:ext>
                    </a:extLst>
                  </p:cNvPr>
                  <p:cNvSpPr/>
                  <p:nvPr/>
                </p:nvSpPr>
                <p:spPr>
                  <a:xfrm>
                    <a:off x="6776130" y="4745602"/>
                    <a:ext cx="826318" cy="826318"/>
                  </a:xfrm>
                  <a:prstGeom prst="ellipse">
                    <a:avLst/>
                  </a:prstGeom>
                  <a:solidFill>
                    <a:schemeClr val="bg1"/>
                  </a:solidFill>
                  <a:ln w="73025">
                    <a:solidFill>
                      <a:srgbClr val="3B3838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70" name="Rechthoek: bovenhoeken, één afgeronde en één afgeschuinde hoek 269">
                    <a:extLst>
                      <a:ext uri="{FF2B5EF4-FFF2-40B4-BE49-F238E27FC236}">
                        <a16:creationId xmlns:a16="http://schemas.microsoft.com/office/drawing/2014/main" id="{26A2F8F7-4F52-44D3-A870-210A2A7068AD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743941" y="5170285"/>
                    <a:ext cx="914400" cy="453649"/>
                  </a:xfrm>
                  <a:prstGeom prst="snip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</p:grpSp>
          <p:sp>
            <p:nvSpPr>
              <p:cNvPr id="163" name="Google Shape;349;p22">
                <a:extLst>
                  <a:ext uri="{FF2B5EF4-FFF2-40B4-BE49-F238E27FC236}">
                    <a16:creationId xmlns:a16="http://schemas.microsoft.com/office/drawing/2014/main" id="{9E89400C-1E52-45F9-B80A-7AD92EBA3D02}"/>
                  </a:ext>
                </a:extLst>
              </p:cNvPr>
              <p:cNvSpPr/>
              <p:nvPr/>
            </p:nvSpPr>
            <p:spPr>
              <a:xfrm>
                <a:off x="7287139" y="5203437"/>
                <a:ext cx="632019" cy="7478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5400" b="1" kern="0" dirty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A</a:t>
                </a:r>
                <a:endParaRPr sz="5400" b="1" kern="0" dirty="0">
                  <a:solidFill>
                    <a:srgbClr val="C81919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</p:grpSp>
        <p:grpSp>
          <p:nvGrpSpPr>
            <p:cNvPr id="278" name="Groep 277">
              <a:extLst>
                <a:ext uri="{FF2B5EF4-FFF2-40B4-BE49-F238E27FC236}">
                  <a16:creationId xmlns:a16="http://schemas.microsoft.com/office/drawing/2014/main" id="{912C26BF-9F77-443F-9D04-5C8223522E00}"/>
                </a:ext>
              </a:extLst>
            </p:cNvPr>
            <p:cNvGrpSpPr/>
            <p:nvPr/>
          </p:nvGrpSpPr>
          <p:grpSpPr>
            <a:xfrm>
              <a:off x="9053060" y="3686637"/>
              <a:ext cx="2319156" cy="2319156"/>
              <a:chOff x="6442870" y="3658979"/>
              <a:chExt cx="2319156" cy="2319156"/>
            </a:xfrm>
          </p:grpSpPr>
          <p:sp>
            <p:nvSpPr>
              <p:cNvPr id="279" name="Ovaal 278">
                <a:extLst>
                  <a:ext uri="{FF2B5EF4-FFF2-40B4-BE49-F238E27FC236}">
                    <a16:creationId xmlns:a16="http://schemas.microsoft.com/office/drawing/2014/main" id="{1D7E3577-B147-4D51-8266-1B55785DD972}"/>
                  </a:ext>
                </a:extLst>
              </p:cNvPr>
              <p:cNvSpPr/>
              <p:nvPr/>
            </p:nvSpPr>
            <p:spPr>
              <a:xfrm>
                <a:off x="6442870" y="3658979"/>
                <a:ext cx="2319156" cy="231915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  <p:grpSp>
            <p:nvGrpSpPr>
              <p:cNvPr id="280" name="Groep 279">
                <a:extLst>
                  <a:ext uri="{FF2B5EF4-FFF2-40B4-BE49-F238E27FC236}">
                    <a16:creationId xmlns:a16="http://schemas.microsoft.com/office/drawing/2014/main" id="{C813FB83-3C99-4D7F-BC5D-9778C077218B}"/>
                  </a:ext>
                </a:extLst>
              </p:cNvPr>
              <p:cNvGrpSpPr/>
              <p:nvPr/>
            </p:nvGrpSpPr>
            <p:grpSpPr>
              <a:xfrm>
                <a:off x="6743941" y="4064991"/>
                <a:ext cx="1718414" cy="1558943"/>
                <a:chOff x="6743941" y="4064991"/>
                <a:chExt cx="1718414" cy="1558943"/>
              </a:xfrm>
            </p:grpSpPr>
            <p:grpSp>
              <p:nvGrpSpPr>
                <p:cNvPr id="282" name="Groep 281">
                  <a:extLst>
                    <a:ext uri="{FF2B5EF4-FFF2-40B4-BE49-F238E27FC236}">
                      <a16:creationId xmlns:a16="http://schemas.microsoft.com/office/drawing/2014/main" id="{6C2A7181-CC54-4352-BAB7-6FA99C9D300E}"/>
                    </a:ext>
                  </a:extLst>
                </p:cNvPr>
                <p:cNvGrpSpPr/>
                <p:nvPr/>
              </p:nvGrpSpPr>
              <p:grpSpPr>
                <a:xfrm>
                  <a:off x="7296244" y="4064991"/>
                  <a:ext cx="1166111" cy="877734"/>
                  <a:chOff x="7296244" y="4064991"/>
                  <a:chExt cx="1166111" cy="877734"/>
                </a:xfrm>
              </p:grpSpPr>
              <p:sp>
                <p:nvSpPr>
                  <p:cNvPr id="287" name="Rechthoek: afgeronde hoeken 286">
                    <a:extLst>
                      <a:ext uri="{FF2B5EF4-FFF2-40B4-BE49-F238E27FC236}">
                        <a16:creationId xmlns:a16="http://schemas.microsoft.com/office/drawing/2014/main" id="{AD2A2E14-CDCD-48C5-8338-91EE3D1F4D9E}"/>
                      </a:ext>
                    </a:extLst>
                  </p:cNvPr>
                  <p:cNvSpPr/>
                  <p:nvPr/>
                </p:nvSpPr>
                <p:spPr>
                  <a:xfrm>
                    <a:off x="7296244" y="4064991"/>
                    <a:ext cx="1166111" cy="734295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38100">
                    <a:solidFill>
                      <a:srgbClr val="3B3838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88" name="Rechthoek: afgeronde hoeken 287">
                    <a:extLst>
                      <a:ext uri="{FF2B5EF4-FFF2-40B4-BE49-F238E27FC236}">
                        <a16:creationId xmlns:a16="http://schemas.microsoft.com/office/drawing/2014/main" id="{CDE5E8CC-CE06-431F-A564-09C9329BC59D}"/>
                      </a:ext>
                    </a:extLst>
                  </p:cNvPr>
                  <p:cNvSpPr/>
                  <p:nvPr/>
                </p:nvSpPr>
                <p:spPr>
                  <a:xfrm>
                    <a:off x="7373189" y="4126480"/>
                    <a:ext cx="1018336" cy="573805"/>
                  </a:xfrm>
                  <a:prstGeom prst="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89" name="Rechthoek: afgeronde hoeken 288">
                    <a:extLst>
                      <a:ext uri="{FF2B5EF4-FFF2-40B4-BE49-F238E27FC236}">
                        <a16:creationId xmlns:a16="http://schemas.microsoft.com/office/drawing/2014/main" id="{35B531C5-AC50-4045-ACD7-6883A32CA62D}"/>
                      </a:ext>
                    </a:extLst>
                  </p:cNvPr>
                  <p:cNvSpPr/>
                  <p:nvPr/>
                </p:nvSpPr>
                <p:spPr>
                  <a:xfrm>
                    <a:off x="7979569" y="4292303"/>
                    <a:ext cx="364397" cy="297166"/>
                  </a:xfrm>
                  <a:prstGeom prst="roundRect">
                    <a:avLst/>
                  </a:prstGeom>
                  <a:solidFill>
                    <a:schemeClr val="bg2">
                      <a:lumMod val="9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cxnSp>
                <p:nvCxnSpPr>
                  <p:cNvPr id="290" name="Rechte verbindingslijn 289">
                    <a:extLst>
                      <a:ext uri="{FF2B5EF4-FFF2-40B4-BE49-F238E27FC236}">
                        <a16:creationId xmlns:a16="http://schemas.microsoft.com/office/drawing/2014/main" id="{5E26628C-B3A7-4CF7-96F4-1B17AE6400B1}"/>
                      </a:ext>
                    </a:extLst>
                  </p:cNvPr>
                  <p:cNvCxnSpPr>
                    <a:cxnSpLocks/>
                    <a:stCxn id="287" idx="2"/>
                  </p:cNvCxnSpPr>
                  <p:nvPr/>
                </p:nvCxnSpPr>
                <p:spPr>
                  <a:xfrm>
                    <a:off x="7879302" y="4799286"/>
                    <a:ext cx="0" cy="143439"/>
                  </a:xfrm>
                  <a:prstGeom prst="line">
                    <a:avLst/>
                  </a:prstGeom>
                  <a:ln w="38100" cap="rnd">
                    <a:solidFill>
                      <a:srgbClr val="3B383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1" name="Rechte verbindingslijn 290">
                    <a:extLst>
                      <a:ext uri="{FF2B5EF4-FFF2-40B4-BE49-F238E27FC236}">
                        <a16:creationId xmlns:a16="http://schemas.microsoft.com/office/drawing/2014/main" id="{D6935F0E-FF22-4869-ABF6-DB5609498D9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7701221" y="4942725"/>
                    <a:ext cx="356162" cy="0"/>
                  </a:xfrm>
                  <a:prstGeom prst="line">
                    <a:avLst/>
                  </a:prstGeom>
                  <a:ln w="38100" cap="rnd">
                    <a:solidFill>
                      <a:srgbClr val="3B383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92" name="Tekstvak 291">
                    <a:extLst>
                      <a:ext uri="{FF2B5EF4-FFF2-40B4-BE49-F238E27FC236}">
                        <a16:creationId xmlns:a16="http://schemas.microsoft.com/office/drawing/2014/main" id="{75C07B39-1BA2-45D3-9CB5-2DF110FC0689}"/>
                      </a:ext>
                    </a:extLst>
                  </p:cNvPr>
                  <p:cNvSpPr txBox="1"/>
                  <p:nvPr/>
                </p:nvSpPr>
                <p:spPr>
                  <a:xfrm>
                    <a:off x="7349717" y="4108184"/>
                    <a:ext cx="1059169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nl-NL" sz="800" b="1" dirty="0">
                        <a:solidFill>
                          <a:srgbClr val="C00000"/>
                        </a:solidFill>
                        <a:latin typeface="Arial Black" panose="020B0A04020102020204" pitchFamily="34" charset="0"/>
                        <a:ea typeface="Segoe UI Black" panose="020B0A02040204020203" pitchFamily="34" charset="0"/>
                      </a:rPr>
                      <a:t>USED BY TU/e</a:t>
                    </a:r>
                  </a:p>
                  <a:p>
                    <a:r>
                      <a:rPr lang="nl-NL" sz="800" b="1" dirty="0">
                        <a:solidFill>
                          <a:srgbClr val="C00000"/>
                        </a:solidFill>
                        <a:latin typeface="Arial Black" panose="020B0A04020102020204" pitchFamily="34" charset="0"/>
                        <a:ea typeface="Segoe UI Black" panose="020B0A02040204020203" pitchFamily="34" charset="0"/>
                      </a:rPr>
                      <a:t>PROFS!</a:t>
                    </a:r>
                    <a:endParaRPr lang="en-NL" sz="800" b="1" dirty="0">
                      <a:solidFill>
                        <a:srgbClr val="C00000"/>
                      </a:solidFill>
                      <a:latin typeface="Arial Black" panose="020B0A04020102020204" pitchFamily="34" charset="0"/>
                      <a:ea typeface="Segoe UI Black" panose="020B0A02040204020203" pitchFamily="34" charset="0"/>
                    </a:endParaRPr>
                  </a:p>
                </p:txBody>
              </p:sp>
              <p:pic>
                <p:nvPicPr>
                  <p:cNvPr id="293" name="Afbeelding 292">
                    <a:extLst>
                      <a:ext uri="{FF2B5EF4-FFF2-40B4-BE49-F238E27FC236}">
                        <a16:creationId xmlns:a16="http://schemas.microsoft.com/office/drawing/2014/main" id="{BEB55EE8-C143-4373-8D57-04DDCAD3622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005412" y="4269110"/>
                    <a:ext cx="338554" cy="338554"/>
                  </a:xfrm>
                  <a:prstGeom prst="rect">
                    <a:avLst/>
                  </a:prstGeom>
                </p:spPr>
              </p:pic>
              <p:sp>
                <p:nvSpPr>
                  <p:cNvPr id="294" name="Rechthoek: afgeronde hoeken 293">
                    <a:extLst>
                      <a:ext uri="{FF2B5EF4-FFF2-40B4-BE49-F238E27FC236}">
                        <a16:creationId xmlns:a16="http://schemas.microsoft.com/office/drawing/2014/main" id="{BF1EA8A0-8711-4D68-8DC1-2620E5FA37EE}"/>
                      </a:ext>
                    </a:extLst>
                  </p:cNvPr>
                  <p:cNvSpPr/>
                  <p:nvPr/>
                </p:nvSpPr>
                <p:spPr>
                  <a:xfrm>
                    <a:off x="7462708" y="4425404"/>
                    <a:ext cx="364397" cy="52567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2">
                      <a:lumMod val="9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95" name="Rechthoek: afgeronde hoeken 294">
                    <a:extLst>
                      <a:ext uri="{FF2B5EF4-FFF2-40B4-BE49-F238E27FC236}">
                        <a16:creationId xmlns:a16="http://schemas.microsoft.com/office/drawing/2014/main" id="{FCA06570-52AF-4558-B397-C0AD133C3BEB}"/>
                      </a:ext>
                    </a:extLst>
                  </p:cNvPr>
                  <p:cNvSpPr/>
                  <p:nvPr/>
                </p:nvSpPr>
                <p:spPr>
                  <a:xfrm>
                    <a:off x="7461063" y="4500893"/>
                    <a:ext cx="364397" cy="52567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2">
                      <a:lumMod val="9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  <p:grpSp>
              <p:nvGrpSpPr>
                <p:cNvPr id="283" name="Groep 282">
                  <a:extLst>
                    <a:ext uri="{FF2B5EF4-FFF2-40B4-BE49-F238E27FC236}">
                      <a16:creationId xmlns:a16="http://schemas.microsoft.com/office/drawing/2014/main" id="{64040438-AB15-498C-BE37-CAA870322DF1}"/>
                    </a:ext>
                  </a:extLst>
                </p:cNvPr>
                <p:cNvGrpSpPr/>
                <p:nvPr/>
              </p:nvGrpSpPr>
              <p:grpSpPr>
                <a:xfrm>
                  <a:off x="6743941" y="4285269"/>
                  <a:ext cx="914400" cy="1338665"/>
                  <a:chOff x="6743941" y="4285269"/>
                  <a:chExt cx="914400" cy="1338665"/>
                </a:xfrm>
              </p:grpSpPr>
              <p:sp>
                <p:nvSpPr>
                  <p:cNvPr id="284" name="Ovaal 283">
                    <a:extLst>
                      <a:ext uri="{FF2B5EF4-FFF2-40B4-BE49-F238E27FC236}">
                        <a16:creationId xmlns:a16="http://schemas.microsoft.com/office/drawing/2014/main" id="{12305477-91C9-4EC3-8763-10C0C3BE7B0E}"/>
                      </a:ext>
                    </a:extLst>
                  </p:cNvPr>
                  <p:cNvSpPr/>
                  <p:nvPr/>
                </p:nvSpPr>
                <p:spPr>
                  <a:xfrm>
                    <a:off x="6960856" y="4285269"/>
                    <a:ext cx="456867" cy="456867"/>
                  </a:xfrm>
                  <a:prstGeom prst="ellipse">
                    <a:avLst/>
                  </a:prstGeom>
                  <a:solidFill>
                    <a:schemeClr val="bg1"/>
                  </a:solidFill>
                  <a:ln w="73025">
                    <a:solidFill>
                      <a:srgbClr val="3B3838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 dirty="0"/>
                  </a:p>
                </p:txBody>
              </p:sp>
              <p:sp>
                <p:nvSpPr>
                  <p:cNvPr id="285" name="Ovaal 284">
                    <a:extLst>
                      <a:ext uri="{FF2B5EF4-FFF2-40B4-BE49-F238E27FC236}">
                        <a16:creationId xmlns:a16="http://schemas.microsoft.com/office/drawing/2014/main" id="{1F0464FD-AC1E-44A2-8CD2-A4A0B9E8BD4D}"/>
                      </a:ext>
                    </a:extLst>
                  </p:cNvPr>
                  <p:cNvSpPr/>
                  <p:nvPr/>
                </p:nvSpPr>
                <p:spPr>
                  <a:xfrm>
                    <a:off x="6776130" y="4745602"/>
                    <a:ext cx="826318" cy="826318"/>
                  </a:xfrm>
                  <a:prstGeom prst="ellipse">
                    <a:avLst/>
                  </a:prstGeom>
                  <a:solidFill>
                    <a:schemeClr val="bg1"/>
                  </a:solidFill>
                  <a:ln w="73025">
                    <a:solidFill>
                      <a:srgbClr val="3B3838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  <p:sp>
                <p:nvSpPr>
                  <p:cNvPr id="286" name="Rechthoek: bovenhoeken, één afgeronde en één afgeschuinde hoek 285">
                    <a:extLst>
                      <a:ext uri="{FF2B5EF4-FFF2-40B4-BE49-F238E27FC236}">
                        <a16:creationId xmlns:a16="http://schemas.microsoft.com/office/drawing/2014/main" id="{FC1A0B6A-D853-48B9-991E-9657047B2230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743941" y="5170285"/>
                    <a:ext cx="914400" cy="453649"/>
                  </a:xfrm>
                  <a:prstGeom prst="snipRound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NL"/>
                  </a:p>
                </p:txBody>
              </p:sp>
            </p:grpSp>
          </p:grpSp>
          <p:sp>
            <p:nvSpPr>
              <p:cNvPr id="281" name="Google Shape;349;p22">
                <a:extLst>
                  <a:ext uri="{FF2B5EF4-FFF2-40B4-BE49-F238E27FC236}">
                    <a16:creationId xmlns:a16="http://schemas.microsoft.com/office/drawing/2014/main" id="{6B8AD946-4B9A-40CA-9127-4E6DB6151AC3}"/>
                  </a:ext>
                </a:extLst>
              </p:cNvPr>
              <p:cNvSpPr/>
              <p:nvPr/>
            </p:nvSpPr>
            <p:spPr>
              <a:xfrm>
                <a:off x="7287139" y="5203437"/>
                <a:ext cx="632019" cy="7478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0000"/>
                  </a:lnSpc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-US" sz="5400" b="1" kern="0" dirty="0">
                    <a:solidFill>
                      <a:srgbClr val="C81919"/>
                    </a:solidFill>
                    <a:latin typeface="+mj-lt"/>
                    <a:ea typeface="Roboto Light"/>
                    <a:cs typeface="Segoe UI Light" panose="020B0502040204020203" pitchFamily="34" charset="0"/>
                    <a:sym typeface="Roboto Light"/>
                  </a:rPr>
                  <a:t>B</a:t>
                </a:r>
                <a:endParaRPr sz="5400" b="1" kern="0" dirty="0">
                  <a:solidFill>
                    <a:srgbClr val="C81919"/>
                  </a:solidFill>
                  <a:latin typeface="+mj-lt"/>
                  <a:ea typeface="Roboto Light"/>
                  <a:cs typeface="Roboto Light"/>
                  <a:sym typeface="Roboto Light"/>
                </a:endParaRPr>
              </a:p>
            </p:txBody>
          </p:sp>
        </p:grpSp>
      </p:grpSp>
      <p:grpSp>
        <p:nvGrpSpPr>
          <p:cNvPr id="309" name="Groep 308">
            <a:extLst>
              <a:ext uri="{FF2B5EF4-FFF2-40B4-BE49-F238E27FC236}">
                <a16:creationId xmlns:a16="http://schemas.microsoft.com/office/drawing/2014/main" id="{EBF108D1-C95C-44DB-AB17-9FE07A3112EC}"/>
              </a:ext>
            </a:extLst>
          </p:cNvPr>
          <p:cNvGrpSpPr/>
          <p:nvPr/>
        </p:nvGrpSpPr>
        <p:grpSpPr>
          <a:xfrm rot="18393088">
            <a:off x="7504797" y="3310881"/>
            <a:ext cx="318873" cy="207491"/>
            <a:chOff x="6883401" y="3203044"/>
            <a:chExt cx="318873" cy="207491"/>
          </a:xfrm>
        </p:grpSpPr>
        <p:cxnSp>
          <p:nvCxnSpPr>
            <p:cNvPr id="305" name="Rechte verbindingslijn 304">
              <a:extLst>
                <a:ext uri="{FF2B5EF4-FFF2-40B4-BE49-F238E27FC236}">
                  <a16:creationId xmlns:a16="http://schemas.microsoft.com/office/drawing/2014/main" id="{0A3EF09C-AA56-4BE1-A90D-71B91DC09AA2}"/>
                </a:ext>
              </a:extLst>
            </p:cNvPr>
            <p:cNvCxnSpPr>
              <a:cxnSpLocks/>
            </p:cNvCxnSpPr>
            <p:nvPr/>
          </p:nvCxnSpPr>
          <p:spPr>
            <a:xfrm rot="3206912" flipH="1">
              <a:off x="6955965" y="3164226"/>
              <a:ext cx="207491" cy="285127"/>
            </a:xfrm>
            <a:prstGeom prst="line">
              <a:avLst/>
            </a:prstGeom>
            <a:ln w="127000" cap="rnd">
              <a:solidFill>
                <a:srgbClr val="3B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Rechte verbindingslijn 305">
              <a:extLst>
                <a:ext uri="{FF2B5EF4-FFF2-40B4-BE49-F238E27FC236}">
                  <a16:creationId xmlns:a16="http://schemas.microsoft.com/office/drawing/2014/main" id="{AD9FE1EF-0D2F-486E-AD98-6C409E9565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83401" y="3225800"/>
              <a:ext cx="111124" cy="82550"/>
            </a:xfrm>
            <a:prstGeom prst="line">
              <a:avLst/>
            </a:prstGeom>
            <a:ln w="127000" cap="rnd">
              <a:solidFill>
                <a:srgbClr val="3B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Rechte verbindingslijn 307">
              <a:extLst>
                <a:ext uri="{FF2B5EF4-FFF2-40B4-BE49-F238E27FC236}">
                  <a16:creationId xmlns:a16="http://schemas.microsoft.com/office/drawing/2014/main" id="{A56FB6D2-042C-47B5-9E6B-D56C087C52B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83401" y="3317963"/>
              <a:ext cx="111124" cy="82550"/>
            </a:xfrm>
            <a:prstGeom prst="line">
              <a:avLst/>
            </a:prstGeom>
            <a:ln w="127000" cap="rnd">
              <a:solidFill>
                <a:srgbClr val="3B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1" name="Groep 310">
            <a:extLst>
              <a:ext uri="{FF2B5EF4-FFF2-40B4-BE49-F238E27FC236}">
                <a16:creationId xmlns:a16="http://schemas.microsoft.com/office/drawing/2014/main" id="{8B39E4D1-D091-415B-ADE2-ECAAD7A85099}"/>
              </a:ext>
            </a:extLst>
          </p:cNvPr>
          <p:cNvGrpSpPr/>
          <p:nvPr/>
        </p:nvGrpSpPr>
        <p:grpSpPr>
          <a:xfrm rot="3206912" flipH="1">
            <a:off x="8796183" y="3310881"/>
            <a:ext cx="318873" cy="207491"/>
            <a:chOff x="6883401" y="3203044"/>
            <a:chExt cx="318873" cy="207491"/>
          </a:xfrm>
        </p:grpSpPr>
        <p:cxnSp>
          <p:nvCxnSpPr>
            <p:cNvPr id="312" name="Rechte verbindingslijn 311">
              <a:extLst>
                <a:ext uri="{FF2B5EF4-FFF2-40B4-BE49-F238E27FC236}">
                  <a16:creationId xmlns:a16="http://schemas.microsoft.com/office/drawing/2014/main" id="{E060DEC6-6FD4-4AB1-8F99-ECAB9737A378}"/>
                </a:ext>
              </a:extLst>
            </p:cNvPr>
            <p:cNvCxnSpPr>
              <a:cxnSpLocks/>
            </p:cNvCxnSpPr>
            <p:nvPr/>
          </p:nvCxnSpPr>
          <p:spPr>
            <a:xfrm rot="3206912" flipH="1">
              <a:off x="6955965" y="3164226"/>
              <a:ext cx="207491" cy="285127"/>
            </a:xfrm>
            <a:prstGeom prst="line">
              <a:avLst/>
            </a:prstGeom>
            <a:ln w="127000" cap="rnd">
              <a:solidFill>
                <a:srgbClr val="3B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Rechte verbindingslijn 312">
              <a:extLst>
                <a:ext uri="{FF2B5EF4-FFF2-40B4-BE49-F238E27FC236}">
                  <a16:creationId xmlns:a16="http://schemas.microsoft.com/office/drawing/2014/main" id="{EB4264BF-F9B9-42AA-AA75-37708193A6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83401" y="3225800"/>
              <a:ext cx="111124" cy="82550"/>
            </a:xfrm>
            <a:prstGeom prst="line">
              <a:avLst/>
            </a:prstGeom>
            <a:ln w="127000" cap="rnd">
              <a:solidFill>
                <a:srgbClr val="3B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Rechte verbindingslijn 313">
              <a:extLst>
                <a:ext uri="{FF2B5EF4-FFF2-40B4-BE49-F238E27FC236}">
                  <a16:creationId xmlns:a16="http://schemas.microsoft.com/office/drawing/2014/main" id="{DC322512-9CB6-472B-84E4-A4D9572175A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83401" y="3317963"/>
              <a:ext cx="111124" cy="82550"/>
            </a:xfrm>
            <a:prstGeom prst="line">
              <a:avLst/>
            </a:prstGeom>
            <a:ln w="127000" cap="rnd">
              <a:solidFill>
                <a:srgbClr val="3B3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5" name="Google Shape;349;p22">
            <a:extLst>
              <a:ext uri="{FF2B5EF4-FFF2-40B4-BE49-F238E27FC236}">
                <a16:creationId xmlns:a16="http://schemas.microsoft.com/office/drawing/2014/main" id="{D9D9207D-A48F-4847-A872-364D1ABF4151}"/>
              </a:ext>
            </a:extLst>
          </p:cNvPr>
          <p:cNvSpPr/>
          <p:nvPr/>
        </p:nvSpPr>
        <p:spPr>
          <a:xfrm>
            <a:off x="345034" y="6436165"/>
            <a:ext cx="11624334" cy="1523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nl-NL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[4] </a:t>
            </a:r>
            <a:r>
              <a:rPr lang="en-US" sz="1100" kern="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Maurits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 </a:t>
            </a:r>
            <a:r>
              <a:rPr lang="en-US" sz="1100" kern="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Kaptein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 and Dean Eckles. </a:t>
            </a:r>
            <a:r>
              <a:rPr lang="en-US" sz="1100" i="1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“Heterogeneity in the Effects of Online Persuasion”</a:t>
            </a:r>
            <a:r>
              <a:rPr lang="en-US" sz="11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,  Journal of Interactive Marketing 26.3  (2012),  pp.  176–188.</a:t>
            </a:r>
            <a:endParaRPr lang="nl-NL" sz="1100" kern="0" dirty="0">
              <a:solidFill>
                <a:schemeClr val="tx1">
                  <a:lumMod val="50000"/>
                  <a:lumOff val="50000"/>
                </a:schemeClr>
              </a:solidFill>
              <a:ea typeface="Roboto Light"/>
              <a:cs typeface="Roboto Light"/>
              <a:sym typeface="Roboto Light"/>
            </a:endParaRPr>
          </a:p>
        </p:txBody>
      </p: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07244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192">
            <a:extLst>
              <a:ext uri="{FF2B5EF4-FFF2-40B4-BE49-F238E27FC236}">
                <a16:creationId xmlns:a16="http://schemas.microsoft.com/office/drawing/2014/main" id="{FC3D56CC-4363-4AF9-8E96-8E339BC53C8A}"/>
              </a:ext>
            </a:extLst>
          </p:cNvPr>
          <p:cNvSpPr txBox="1"/>
          <p:nvPr/>
        </p:nvSpPr>
        <p:spPr>
          <a:xfrm>
            <a:off x="1751165" y="3429000"/>
            <a:ext cx="265006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me contexts involve stimulation of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ng-term behavioral chang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74713" y="318367"/>
            <a:ext cx="5029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Backgroun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34891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Problems with current research</a:t>
            </a:r>
          </a:p>
        </p:txBody>
      </p:sp>
      <p:sp>
        <p:nvSpPr>
          <p:cNvPr id="57" name="TextBox 191">
            <a:extLst>
              <a:ext uri="{FF2B5EF4-FFF2-40B4-BE49-F238E27FC236}">
                <a16:creationId xmlns:a16="http://schemas.microsoft.com/office/drawing/2014/main" id="{5C9683A5-CB64-4377-803F-45ACB0154E9E}"/>
              </a:ext>
            </a:extLst>
          </p:cNvPr>
          <p:cNvSpPr txBox="1"/>
          <p:nvPr/>
        </p:nvSpPr>
        <p:spPr>
          <a:xfrm>
            <a:off x="2201205" y="2219287"/>
            <a:ext cx="265006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ccess often measured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y short-term behavior and attitudes</a:t>
            </a:r>
          </a:p>
        </p:txBody>
      </p:sp>
      <p:sp>
        <p:nvSpPr>
          <p:cNvPr id="44" name="TextBox 193">
            <a:extLst>
              <a:ext uri="{FF2B5EF4-FFF2-40B4-BE49-F238E27FC236}">
                <a16:creationId xmlns:a16="http://schemas.microsoft.com/office/drawing/2014/main" id="{7D6EAE88-6997-45F1-90EB-CA12A788D523}"/>
              </a:ext>
            </a:extLst>
          </p:cNvPr>
          <p:cNvSpPr txBox="1"/>
          <p:nvPr/>
        </p:nvSpPr>
        <p:spPr>
          <a:xfrm>
            <a:off x="2201205" y="4638713"/>
            <a:ext cx="265006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-B model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ves that this is not self-evident</a:t>
            </a: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3A30382B-59AE-4EC3-92C4-FEF99B7001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0805" y="733387"/>
            <a:ext cx="4674870" cy="4824981"/>
          </a:xfrm>
          <a:prstGeom prst="rect">
            <a:avLst/>
          </a:prstGeom>
        </p:spPr>
      </p:pic>
      <p:sp>
        <p:nvSpPr>
          <p:cNvPr id="144" name="Google Shape;349;p22">
            <a:extLst>
              <a:ext uri="{FF2B5EF4-FFF2-40B4-BE49-F238E27FC236}">
                <a16:creationId xmlns:a16="http://schemas.microsoft.com/office/drawing/2014/main" id="{B774C152-DC0F-4AFF-9055-667B894F1BF0}"/>
              </a:ext>
            </a:extLst>
          </p:cNvPr>
          <p:cNvSpPr/>
          <p:nvPr/>
        </p:nvSpPr>
        <p:spPr>
          <a:xfrm>
            <a:off x="7603114" y="5608994"/>
            <a:ext cx="1390252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nl-NL" sz="14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The COM-B model</a:t>
            </a:r>
            <a:r>
              <a:rPr lang="nl-NL" sz="1400" kern="0" baseline="3000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4</a:t>
            </a:r>
          </a:p>
        </p:txBody>
      </p:sp>
      <p:sp>
        <p:nvSpPr>
          <p:cNvPr id="145" name="Google Shape;349;p22">
            <a:extLst>
              <a:ext uri="{FF2B5EF4-FFF2-40B4-BE49-F238E27FC236}">
                <a16:creationId xmlns:a16="http://schemas.microsoft.com/office/drawing/2014/main" id="{E2D7D271-2BA4-4335-B084-3B698A59CE3A}"/>
              </a:ext>
            </a:extLst>
          </p:cNvPr>
          <p:cNvSpPr/>
          <p:nvPr/>
        </p:nvSpPr>
        <p:spPr>
          <a:xfrm>
            <a:off x="345034" y="6346140"/>
            <a:ext cx="11624334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buClr>
                <a:srgbClr val="000000"/>
              </a:buClr>
              <a:buSzPts val="1100"/>
              <a:buFont typeface="Arial"/>
              <a:buNone/>
            </a:pPr>
            <a:r>
              <a:rPr lang="nl-NL" sz="12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[4] </a:t>
            </a:r>
            <a:r>
              <a:rPr 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Susan </a:t>
            </a:r>
            <a:r>
              <a:rPr lang="en-US" sz="1200" kern="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Michie</a:t>
            </a:r>
            <a:r>
              <a:rPr 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, </a:t>
            </a:r>
            <a:r>
              <a:rPr lang="en-US" sz="1200" kern="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Maartje</a:t>
            </a:r>
            <a:r>
              <a:rPr 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 M. van </a:t>
            </a:r>
            <a:r>
              <a:rPr lang="en-US" sz="1200" kern="0" dirty="0" err="1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Stralen</a:t>
            </a:r>
            <a:r>
              <a:rPr 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, and Robert West, “</a:t>
            </a:r>
            <a:r>
              <a:rPr lang="en-US" sz="1200" i="1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The behavior change wheel: A new method for characterizing and designing behavior change interventions”, </a:t>
            </a:r>
            <a:r>
              <a:rPr 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ea typeface="Roboto Light"/>
                <a:cs typeface="Roboto Light"/>
                <a:sym typeface="Roboto Light"/>
              </a:rPr>
              <a:t>Implementation Science 6.1 (2011), p. 42</a:t>
            </a:r>
            <a:endParaRPr lang="nl-NL" sz="1200" kern="0" dirty="0">
              <a:solidFill>
                <a:schemeClr val="tx1">
                  <a:lumMod val="50000"/>
                  <a:lumOff val="50000"/>
                </a:schemeClr>
              </a:solidFill>
              <a:ea typeface="Roboto Light"/>
              <a:cs typeface="Roboto Light"/>
              <a:sym typeface="Roboto Light"/>
            </a:endParaRPr>
          </a:p>
        </p:txBody>
      </p:sp>
      <p:grpSp>
        <p:nvGrpSpPr>
          <p:cNvPr id="158" name="Group 10">
            <a:extLst>
              <a:ext uri="{FF2B5EF4-FFF2-40B4-BE49-F238E27FC236}">
                <a16:creationId xmlns:a16="http://schemas.microsoft.com/office/drawing/2014/main" id="{F07AE733-6564-4321-A192-E88B4844416C}"/>
              </a:ext>
            </a:extLst>
          </p:cNvPr>
          <p:cNvGrpSpPr/>
          <p:nvPr/>
        </p:nvGrpSpPr>
        <p:grpSpPr>
          <a:xfrm>
            <a:off x="1155689" y="2038727"/>
            <a:ext cx="811103" cy="801212"/>
            <a:chOff x="4279221" y="2033354"/>
            <a:chExt cx="1412875" cy="1395646"/>
          </a:xfrm>
        </p:grpSpPr>
        <p:sp>
          <p:nvSpPr>
            <p:cNvPr id="159" name="Freeform 5">
              <a:extLst>
                <a:ext uri="{FF2B5EF4-FFF2-40B4-BE49-F238E27FC236}">
                  <a16:creationId xmlns:a16="http://schemas.microsoft.com/office/drawing/2014/main" id="{A98C43B6-386C-451A-89CC-00B960584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">
              <a:extLst>
                <a:ext uri="{FF2B5EF4-FFF2-40B4-BE49-F238E27FC236}">
                  <a16:creationId xmlns:a16="http://schemas.microsoft.com/office/drawing/2014/main" id="{D0E30B99-9AFC-4758-B5A9-23756D326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4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161" name="Group 10">
            <a:extLst>
              <a:ext uri="{FF2B5EF4-FFF2-40B4-BE49-F238E27FC236}">
                <a16:creationId xmlns:a16="http://schemas.microsoft.com/office/drawing/2014/main" id="{056BDC0E-3A20-4D3E-85A3-15A26229F5DE}"/>
              </a:ext>
            </a:extLst>
          </p:cNvPr>
          <p:cNvGrpSpPr/>
          <p:nvPr/>
        </p:nvGrpSpPr>
        <p:grpSpPr>
          <a:xfrm>
            <a:off x="752476" y="3240975"/>
            <a:ext cx="811103" cy="801212"/>
            <a:chOff x="4279221" y="2033354"/>
            <a:chExt cx="1412875" cy="1395646"/>
          </a:xfrm>
        </p:grpSpPr>
        <p:sp>
          <p:nvSpPr>
            <p:cNvPr id="162" name="Freeform 5">
              <a:extLst>
                <a:ext uri="{FF2B5EF4-FFF2-40B4-BE49-F238E27FC236}">
                  <a16:creationId xmlns:a16="http://schemas.microsoft.com/office/drawing/2014/main" id="{FB3C82FE-9FCB-4BAA-8992-475174972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6">
              <a:extLst>
                <a:ext uri="{FF2B5EF4-FFF2-40B4-BE49-F238E27FC236}">
                  <a16:creationId xmlns:a16="http://schemas.microsoft.com/office/drawing/2014/main" id="{139E8EE8-2EFB-4E9D-8761-75F5A4E53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F6B8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167" name="Group 10">
            <a:extLst>
              <a:ext uri="{FF2B5EF4-FFF2-40B4-BE49-F238E27FC236}">
                <a16:creationId xmlns:a16="http://schemas.microsoft.com/office/drawing/2014/main" id="{ACEB9E82-33FE-4900-97A9-1FCCC38A393C}"/>
              </a:ext>
            </a:extLst>
          </p:cNvPr>
          <p:cNvGrpSpPr/>
          <p:nvPr/>
        </p:nvGrpSpPr>
        <p:grpSpPr>
          <a:xfrm>
            <a:off x="1155689" y="4446085"/>
            <a:ext cx="811103" cy="801212"/>
            <a:chOff x="4279221" y="2033354"/>
            <a:chExt cx="1412875" cy="1395646"/>
          </a:xfrm>
        </p:grpSpPr>
        <p:sp>
          <p:nvSpPr>
            <p:cNvPr id="168" name="Freeform 5">
              <a:extLst>
                <a:ext uri="{FF2B5EF4-FFF2-40B4-BE49-F238E27FC236}">
                  <a16:creationId xmlns:a16="http://schemas.microsoft.com/office/drawing/2014/main" id="{9F58246D-F5D3-4A11-AF44-0F53F8648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221" y="2081212"/>
              <a:ext cx="1412875" cy="1347788"/>
            </a:xfrm>
            <a:custGeom>
              <a:avLst/>
              <a:gdLst>
                <a:gd name="T0" fmla="*/ 36 w 374"/>
                <a:gd name="T1" fmla="*/ 145 h 356"/>
                <a:gd name="T2" fmla="*/ 118 w 374"/>
                <a:gd name="T3" fmla="*/ 65 h 356"/>
                <a:gd name="T4" fmla="*/ 271 w 374"/>
                <a:gd name="T5" fmla="*/ 39 h 356"/>
                <a:gd name="T6" fmla="*/ 353 w 374"/>
                <a:gd name="T7" fmla="*/ 207 h 356"/>
                <a:gd name="T8" fmla="*/ 128 w 374"/>
                <a:gd name="T9" fmla="*/ 310 h 356"/>
                <a:gd name="T10" fmla="*/ 35 w 374"/>
                <a:gd name="T11" fmla="*/ 218 h 356"/>
                <a:gd name="T12" fmla="*/ 36 w 374"/>
                <a:gd name="T13" fmla="*/ 14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356">
                  <a:moveTo>
                    <a:pt x="36" y="145"/>
                  </a:moveTo>
                  <a:cubicBezTo>
                    <a:pt x="61" y="130"/>
                    <a:pt x="78" y="127"/>
                    <a:pt x="118" y="65"/>
                  </a:cubicBezTo>
                  <a:cubicBezTo>
                    <a:pt x="159" y="3"/>
                    <a:pt x="231" y="0"/>
                    <a:pt x="271" y="39"/>
                  </a:cubicBezTo>
                  <a:cubicBezTo>
                    <a:pt x="311" y="78"/>
                    <a:pt x="374" y="119"/>
                    <a:pt x="353" y="207"/>
                  </a:cubicBezTo>
                  <a:cubicBezTo>
                    <a:pt x="332" y="296"/>
                    <a:pt x="216" y="356"/>
                    <a:pt x="128" y="310"/>
                  </a:cubicBezTo>
                  <a:cubicBezTo>
                    <a:pt x="76" y="282"/>
                    <a:pt x="53" y="251"/>
                    <a:pt x="35" y="218"/>
                  </a:cubicBezTo>
                  <a:cubicBezTo>
                    <a:pt x="23" y="196"/>
                    <a:pt x="0" y="166"/>
                    <a:pt x="36" y="1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6">
              <a:extLst>
                <a:ext uri="{FF2B5EF4-FFF2-40B4-BE49-F238E27FC236}">
                  <a16:creationId xmlns:a16="http://schemas.microsoft.com/office/drawing/2014/main" id="{E126F173-FE8B-41D0-BD5F-CD535A445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645" y="2033354"/>
              <a:ext cx="1216025" cy="1336675"/>
            </a:xfrm>
            <a:custGeom>
              <a:avLst/>
              <a:gdLst>
                <a:gd name="T0" fmla="*/ 223 w 322"/>
                <a:gd name="T1" fmla="*/ 21 h 353"/>
                <a:gd name="T2" fmla="*/ 113 w 322"/>
                <a:gd name="T3" fmla="*/ 52 h 353"/>
                <a:gd name="T4" fmla="*/ 14 w 322"/>
                <a:gd name="T5" fmla="*/ 172 h 353"/>
                <a:gd name="T6" fmla="*/ 119 w 322"/>
                <a:gd name="T7" fmla="*/ 327 h 353"/>
                <a:gd name="T8" fmla="*/ 320 w 322"/>
                <a:gd name="T9" fmla="*/ 183 h 353"/>
                <a:gd name="T10" fmla="*/ 287 w 322"/>
                <a:gd name="T11" fmla="*/ 56 h 353"/>
                <a:gd name="T12" fmla="*/ 223 w 322"/>
                <a:gd name="T13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53">
                  <a:moveTo>
                    <a:pt x="223" y="21"/>
                  </a:moveTo>
                  <a:cubicBezTo>
                    <a:pt x="198" y="35"/>
                    <a:pt x="187" y="48"/>
                    <a:pt x="113" y="52"/>
                  </a:cubicBezTo>
                  <a:cubicBezTo>
                    <a:pt x="39" y="57"/>
                    <a:pt x="0" y="118"/>
                    <a:pt x="14" y="172"/>
                  </a:cubicBezTo>
                  <a:cubicBezTo>
                    <a:pt x="28" y="226"/>
                    <a:pt x="32" y="301"/>
                    <a:pt x="119" y="327"/>
                  </a:cubicBezTo>
                  <a:cubicBezTo>
                    <a:pt x="206" y="353"/>
                    <a:pt x="316" y="282"/>
                    <a:pt x="320" y="183"/>
                  </a:cubicBezTo>
                  <a:cubicBezTo>
                    <a:pt x="322" y="124"/>
                    <a:pt x="306" y="88"/>
                    <a:pt x="287" y="56"/>
                  </a:cubicBezTo>
                  <a:cubicBezTo>
                    <a:pt x="274" y="35"/>
                    <a:pt x="259" y="0"/>
                    <a:pt x="223" y="21"/>
                  </a:cubicBezTo>
                  <a:close/>
                </a:path>
              </a:pathLst>
            </a:custGeom>
            <a:solidFill>
              <a:srgbClr val="3B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70" name="Ovaal 169">
            <a:extLst>
              <a:ext uri="{FF2B5EF4-FFF2-40B4-BE49-F238E27FC236}">
                <a16:creationId xmlns:a16="http://schemas.microsoft.com/office/drawing/2014/main" id="{220600A2-3066-41AD-8E53-47F0C83ADEF1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1" name="Ovaal 170">
            <a:extLst>
              <a:ext uri="{FF2B5EF4-FFF2-40B4-BE49-F238E27FC236}">
                <a16:creationId xmlns:a16="http://schemas.microsoft.com/office/drawing/2014/main" id="{1B4A84E3-BEEE-48F1-9855-47CE51170901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2" name="Oval 179">
            <a:extLst>
              <a:ext uri="{FF2B5EF4-FFF2-40B4-BE49-F238E27FC236}">
                <a16:creationId xmlns:a16="http://schemas.microsoft.com/office/drawing/2014/main" id="{E2D55AC6-4FEE-4ABA-B58D-ECE919976C4F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Rechthoek 173">
            <a:extLst>
              <a:ext uri="{FF2B5EF4-FFF2-40B4-BE49-F238E27FC236}">
                <a16:creationId xmlns:a16="http://schemas.microsoft.com/office/drawing/2014/main" id="{073D6871-84A8-4C54-A3A2-E9B8BAD83F4F}"/>
              </a:ext>
            </a:extLst>
          </p:cNvPr>
          <p:cNvSpPr/>
          <p:nvPr/>
        </p:nvSpPr>
        <p:spPr>
          <a:xfrm>
            <a:off x="1384591" y="2241037"/>
            <a:ext cx="382307" cy="409137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5" name="Rechthoek 174">
            <a:extLst>
              <a:ext uri="{FF2B5EF4-FFF2-40B4-BE49-F238E27FC236}">
                <a16:creationId xmlns:a16="http://schemas.microsoft.com/office/drawing/2014/main" id="{CE1ABEF9-E255-465C-A3E7-A02456C57668}"/>
              </a:ext>
            </a:extLst>
          </p:cNvPr>
          <p:cNvSpPr/>
          <p:nvPr/>
        </p:nvSpPr>
        <p:spPr>
          <a:xfrm>
            <a:off x="1384591" y="4650519"/>
            <a:ext cx="382307" cy="409137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6" name="Rechthoek 175">
            <a:extLst>
              <a:ext uri="{FF2B5EF4-FFF2-40B4-BE49-F238E27FC236}">
                <a16:creationId xmlns:a16="http://schemas.microsoft.com/office/drawing/2014/main" id="{5FD41B99-E983-449A-BA6E-F235D384901A}"/>
              </a:ext>
            </a:extLst>
          </p:cNvPr>
          <p:cNvSpPr/>
          <p:nvPr/>
        </p:nvSpPr>
        <p:spPr>
          <a:xfrm>
            <a:off x="990906" y="3426137"/>
            <a:ext cx="361831" cy="387224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14472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74713" y="318367"/>
            <a:ext cx="5029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Research question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C8117DFE-5D6D-46FE-89BF-E2C640FB7114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0" name="Ovaal 169">
            <a:extLst>
              <a:ext uri="{FF2B5EF4-FFF2-40B4-BE49-F238E27FC236}">
                <a16:creationId xmlns:a16="http://schemas.microsoft.com/office/drawing/2014/main" id="{220600A2-3066-41AD-8E53-47F0C83ADEF1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1" name="Ovaal 170">
            <a:extLst>
              <a:ext uri="{FF2B5EF4-FFF2-40B4-BE49-F238E27FC236}">
                <a16:creationId xmlns:a16="http://schemas.microsoft.com/office/drawing/2014/main" id="{1B4A84E3-BEEE-48F1-9855-47CE51170901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2" name="Oval 179">
            <a:extLst>
              <a:ext uri="{FF2B5EF4-FFF2-40B4-BE49-F238E27FC236}">
                <a16:creationId xmlns:a16="http://schemas.microsoft.com/office/drawing/2014/main" id="{E2D55AC6-4FEE-4ABA-B58D-ECE919976C4F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021223-557B-4514-B4A6-974B11AA664C}"/>
              </a:ext>
            </a:extLst>
          </p:cNvPr>
          <p:cNvGrpSpPr/>
          <p:nvPr/>
        </p:nvGrpSpPr>
        <p:grpSpPr>
          <a:xfrm>
            <a:off x="2189823" y="1755518"/>
            <a:ext cx="7812354" cy="4050008"/>
            <a:chOff x="2167228" y="1799479"/>
            <a:chExt cx="7812354" cy="4050008"/>
          </a:xfrm>
        </p:grpSpPr>
        <p:sp>
          <p:nvSpPr>
            <p:cNvPr id="29" name="Oval 50">
              <a:extLst>
                <a:ext uri="{FF2B5EF4-FFF2-40B4-BE49-F238E27FC236}">
                  <a16:creationId xmlns:a16="http://schemas.microsoft.com/office/drawing/2014/main" id="{3846A8DD-8929-4765-BA58-26C714D970EE}"/>
                </a:ext>
              </a:extLst>
            </p:cNvPr>
            <p:cNvSpPr/>
            <p:nvPr/>
          </p:nvSpPr>
          <p:spPr>
            <a:xfrm>
              <a:off x="2181228" y="1799479"/>
              <a:ext cx="2851876" cy="28518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51">
              <a:extLst>
                <a:ext uri="{FF2B5EF4-FFF2-40B4-BE49-F238E27FC236}">
                  <a16:creationId xmlns:a16="http://schemas.microsoft.com/office/drawing/2014/main" id="{5AF435D8-DF31-45CC-9BAC-426185975EFA}"/>
                </a:ext>
              </a:extLst>
            </p:cNvPr>
            <p:cNvSpPr/>
            <p:nvPr/>
          </p:nvSpPr>
          <p:spPr>
            <a:xfrm>
              <a:off x="6607360" y="1799479"/>
              <a:ext cx="2851876" cy="28518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13">
              <a:extLst>
                <a:ext uri="{FF2B5EF4-FFF2-40B4-BE49-F238E27FC236}">
                  <a16:creationId xmlns:a16="http://schemas.microsoft.com/office/drawing/2014/main" id="{665873F0-AE4D-4DA4-BFB2-0F1E5721AD90}"/>
                </a:ext>
              </a:extLst>
            </p:cNvPr>
            <p:cNvSpPr/>
            <p:nvPr/>
          </p:nvSpPr>
          <p:spPr>
            <a:xfrm>
              <a:off x="2167228" y="2977386"/>
              <a:ext cx="2872101" cy="2872101"/>
            </a:xfrm>
            <a:prstGeom prst="ellipse">
              <a:avLst/>
            </a:prstGeom>
            <a:solidFill>
              <a:srgbClr val="C819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14">
              <a:extLst>
                <a:ext uri="{FF2B5EF4-FFF2-40B4-BE49-F238E27FC236}">
                  <a16:creationId xmlns:a16="http://schemas.microsoft.com/office/drawing/2014/main" id="{F3F31EED-90AB-4F65-864D-759914D48374}"/>
                </a:ext>
              </a:extLst>
            </p:cNvPr>
            <p:cNvSpPr/>
            <p:nvPr/>
          </p:nvSpPr>
          <p:spPr>
            <a:xfrm>
              <a:off x="6595304" y="2977386"/>
              <a:ext cx="2872101" cy="2872101"/>
            </a:xfrm>
            <a:prstGeom prst="ellipse">
              <a:avLst/>
            </a:prstGeom>
            <a:solidFill>
              <a:srgbClr val="6A6C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" name="Group 15">
              <a:extLst>
                <a:ext uri="{FF2B5EF4-FFF2-40B4-BE49-F238E27FC236}">
                  <a16:creationId xmlns:a16="http://schemas.microsoft.com/office/drawing/2014/main" id="{FCD4CAEA-6096-4F16-A5E9-1A2F7EFE1A76}"/>
                </a:ext>
              </a:extLst>
            </p:cNvPr>
            <p:cNvGrpSpPr/>
            <p:nvPr/>
          </p:nvGrpSpPr>
          <p:grpSpPr>
            <a:xfrm>
              <a:off x="4864561" y="3739556"/>
              <a:ext cx="690262" cy="1347760"/>
              <a:chOff x="3428510" y="3016980"/>
              <a:chExt cx="690262" cy="1347760"/>
            </a:xfrm>
          </p:grpSpPr>
          <p:sp>
            <p:nvSpPr>
              <p:cNvPr id="71" name="Oval 32">
                <a:extLst>
                  <a:ext uri="{FF2B5EF4-FFF2-40B4-BE49-F238E27FC236}">
                    <a16:creationId xmlns:a16="http://schemas.microsoft.com/office/drawing/2014/main" id="{E0D80653-BBE2-4328-B7F9-53CE2AC9DCE5}"/>
                  </a:ext>
                </a:extLst>
              </p:cNvPr>
              <p:cNvSpPr/>
              <p:nvPr/>
            </p:nvSpPr>
            <p:spPr>
              <a:xfrm>
                <a:off x="3553903" y="4082306"/>
                <a:ext cx="282434" cy="282434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Rectangle: Top Corners Rounded 33">
                <a:extLst>
                  <a:ext uri="{FF2B5EF4-FFF2-40B4-BE49-F238E27FC236}">
                    <a16:creationId xmlns:a16="http://schemas.microsoft.com/office/drawing/2014/main" id="{EC2CAA7D-FF38-4C0E-A5FF-35F567A5987C}"/>
                  </a:ext>
                </a:extLst>
              </p:cNvPr>
              <p:cNvSpPr/>
              <p:nvPr/>
            </p:nvSpPr>
            <p:spPr>
              <a:xfrm rot="5400000">
                <a:off x="3632423" y="3197255"/>
                <a:ext cx="282435" cy="69026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tangle: Top Corners Rounded 34">
                <a:extLst>
                  <a:ext uri="{FF2B5EF4-FFF2-40B4-BE49-F238E27FC236}">
                    <a16:creationId xmlns:a16="http://schemas.microsoft.com/office/drawing/2014/main" id="{B0B2BC53-50F0-414A-A632-3C9E791369E1}"/>
                  </a:ext>
                </a:extLst>
              </p:cNvPr>
              <p:cNvSpPr/>
              <p:nvPr/>
            </p:nvSpPr>
            <p:spPr>
              <a:xfrm rot="5400000">
                <a:off x="3461504" y="2983987"/>
                <a:ext cx="282435" cy="34842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16">
              <a:extLst>
                <a:ext uri="{FF2B5EF4-FFF2-40B4-BE49-F238E27FC236}">
                  <a16:creationId xmlns:a16="http://schemas.microsoft.com/office/drawing/2014/main" id="{B0F6E86D-442C-4B52-BA05-FF36A5A0098D}"/>
                </a:ext>
              </a:extLst>
            </p:cNvPr>
            <p:cNvGrpSpPr/>
            <p:nvPr/>
          </p:nvGrpSpPr>
          <p:grpSpPr>
            <a:xfrm flipH="1" flipV="1">
              <a:off x="5960242" y="4021992"/>
              <a:ext cx="1376481" cy="1347759"/>
              <a:chOff x="2742291" y="3016981"/>
              <a:chExt cx="1376481" cy="1347759"/>
            </a:xfrm>
          </p:grpSpPr>
          <p:sp>
            <p:nvSpPr>
              <p:cNvPr id="68" name="Oval 29">
                <a:extLst>
                  <a:ext uri="{FF2B5EF4-FFF2-40B4-BE49-F238E27FC236}">
                    <a16:creationId xmlns:a16="http://schemas.microsoft.com/office/drawing/2014/main" id="{9D4435DC-D472-4EF2-87E6-299D94E2C1B8}"/>
                  </a:ext>
                </a:extLst>
              </p:cNvPr>
              <p:cNvSpPr/>
              <p:nvPr/>
            </p:nvSpPr>
            <p:spPr>
              <a:xfrm>
                <a:off x="3553903" y="4082306"/>
                <a:ext cx="282434" cy="282434"/>
              </a:xfrm>
              <a:prstGeom prst="ellipse">
                <a:avLst/>
              </a:prstGeom>
              <a:solidFill>
                <a:srgbClr val="6A6C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Rectangle: Top Corners Rounded 30">
                <a:extLst>
                  <a:ext uri="{FF2B5EF4-FFF2-40B4-BE49-F238E27FC236}">
                    <a16:creationId xmlns:a16="http://schemas.microsoft.com/office/drawing/2014/main" id="{DC1C69D0-E14D-4F0F-899D-5E0EF800F168}"/>
                  </a:ext>
                </a:extLst>
              </p:cNvPr>
              <p:cNvSpPr/>
              <p:nvPr/>
            </p:nvSpPr>
            <p:spPr>
              <a:xfrm rot="5400000">
                <a:off x="3289314" y="2854146"/>
                <a:ext cx="282435" cy="137648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6A6C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tangle: Top Corners Rounded 31">
                <a:extLst>
                  <a:ext uri="{FF2B5EF4-FFF2-40B4-BE49-F238E27FC236}">
                    <a16:creationId xmlns:a16="http://schemas.microsoft.com/office/drawing/2014/main" id="{E4EC77BF-58FA-400E-963D-A705B04993F5}"/>
                  </a:ext>
                </a:extLst>
              </p:cNvPr>
              <p:cNvSpPr/>
              <p:nvPr/>
            </p:nvSpPr>
            <p:spPr>
              <a:xfrm rot="5400000">
                <a:off x="3288314" y="2810797"/>
                <a:ext cx="282435" cy="69480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6A6C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6" name="Group 17">
              <a:extLst>
                <a:ext uri="{FF2B5EF4-FFF2-40B4-BE49-F238E27FC236}">
                  <a16:creationId xmlns:a16="http://schemas.microsoft.com/office/drawing/2014/main" id="{996ACB38-0F7C-4E8C-BC91-C878CC10B350}"/>
                </a:ext>
              </a:extLst>
            </p:cNvPr>
            <p:cNvGrpSpPr/>
            <p:nvPr/>
          </p:nvGrpSpPr>
          <p:grpSpPr>
            <a:xfrm>
              <a:off x="9289320" y="3739556"/>
              <a:ext cx="690262" cy="1347760"/>
              <a:chOff x="3428510" y="3016980"/>
              <a:chExt cx="690262" cy="1347760"/>
            </a:xfrm>
            <a:solidFill>
              <a:srgbClr val="357DEA"/>
            </a:solidFill>
          </p:grpSpPr>
          <p:sp>
            <p:nvSpPr>
              <p:cNvPr id="65" name="Oval 26">
                <a:extLst>
                  <a:ext uri="{FF2B5EF4-FFF2-40B4-BE49-F238E27FC236}">
                    <a16:creationId xmlns:a16="http://schemas.microsoft.com/office/drawing/2014/main" id="{574E11E6-D9F1-40D3-980C-6D885D20CB24}"/>
                  </a:ext>
                </a:extLst>
              </p:cNvPr>
              <p:cNvSpPr/>
              <p:nvPr/>
            </p:nvSpPr>
            <p:spPr>
              <a:xfrm>
                <a:off x="3553903" y="4082306"/>
                <a:ext cx="282434" cy="282434"/>
              </a:xfrm>
              <a:prstGeom prst="ellipse">
                <a:avLst/>
              </a:prstGeom>
              <a:solidFill>
                <a:srgbClr val="6A6C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Rectangle: Top Corners Rounded 27">
                <a:extLst>
                  <a:ext uri="{FF2B5EF4-FFF2-40B4-BE49-F238E27FC236}">
                    <a16:creationId xmlns:a16="http://schemas.microsoft.com/office/drawing/2014/main" id="{176814A2-BF7C-4354-91A7-1B6964E8491E}"/>
                  </a:ext>
                </a:extLst>
              </p:cNvPr>
              <p:cNvSpPr/>
              <p:nvPr/>
            </p:nvSpPr>
            <p:spPr>
              <a:xfrm rot="5400000">
                <a:off x="3632423" y="3197255"/>
                <a:ext cx="282435" cy="69026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6A6C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tangle: Top Corners Rounded 28">
                <a:extLst>
                  <a:ext uri="{FF2B5EF4-FFF2-40B4-BE49-F238E27FC236}">
                    <a16:creationId xmlns:a16="http://schemas.microsoft.com/office/drawing/2014/main" id="{B8B69E39-3330-4AE1-952B-95FDD2FCE30F}"/>
                  </a:ext>
                </a:extLst>
              </p:cNvPr>
              <p:cNvSpPr/>
              <p:nvPr/>
            </p:nvSpPr>
            <p:spPr>
              <a:xfrm rot="5400000">
                <a:off x="3461504" y="2983987"/>
                <a:ext cx="282435" cy="34842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6A6C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9" name="Oval 20">
              <a:extLst>
                <a:ext uri="{FF2B5EF4-FFF2-40B4-BE49-F238E27FC236}">
                  <a16:creationId xmlns:a16="http://schemas.microsoft.com/office/drawing/2014/main" id="{370C1A8D-247B-45CF-9F7C-F51DB638B7EC}"/>
                </a:ext>
              </a:extLst>
            </p:cNvPr>
            <p:cNvSpPr/>
            <p:nvPr/>
          </p:nvSpPr>
          <p:spPr>
            <a:xfrm>
              <a:off x="2415259" y="3225417"/>
              <a:ext cx="2376038" cy="23760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21">
              <a:extLst>
                <a:ext uri="{FF2B5EF4-FFF2-40B4-BE49-F238E27FC236}">
                  <a16:creationId xmlns:a16="http://schemas.microsoft.com/office/drawing/2014/main" id="{C7035E73-C839-458B-A952-F53796318AC2}"/>
                </a:ext>
              </a:extLst>
            </p:cNvPr>
            <p:cNvSpPr/>
            <p:nvPr/>
          </p:nvSpPr>
          <p:spPr>
            <a:xfrm>
              <a:off x="6843335" y="3225417"/>
              <a:ext cx="2376038" cy="23760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extBox 1">
              <a:extLst>
                <a:ext uri="{FF2B5EF4-FFF2-40B4-BE49-F238E27FC236}">
                  <a16:creationId xmlns:a16="http://schemas.microsoft.com/office/drawing/2014/main" id="{21E6D369-C034-4315-A95D-755A4B650AAE}"/>
                </a:ext>
              </a:extLst>
            </p:cNvPr>
            <p:cNvSpPr txBox="1"/>
            <p:nvPr/>
          </p:nvSpPr>
          <p:spPr>
            <a:xfrm>
              <a:off x="2760606" y="2089418"/>
              <a:ext cx="168534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C81919"/>
                  </a:solidFill>
                  <a:latin typeface="Century Gothic" panose="020B0502020202020204" pitchFamily="34" charset="0"/>
                </a:rPr>
                <a:t>Question </a:t>
              </a:r>
            </a:p>
            <a:p>
              <a:pPr algn="ctr"/>
              <a:r>
                <a:rPr lang="en-US" sz="2000" b="1" dirty="0">
                  <a:solidFill>
                    <a:srgbClr val="C81919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  <p:sp>
          <p:nvSpPr>
            <p:cNvPr id="43" name="TextBox 38">
              <a:extLst>
                <a:ext uri="{FF2B5EF4-FFF2-40B4-BE49-F238E27FC236}">
                  <a16:creationId xmlns:a16="http://schemas.microsoft.com/office/drawing/2014/main" id="{2E018048-80ED-453F-9947-BA0EE5D3C646}"/>
                </a:ext>
              </a:extLst>
            </p:cNvPr>
            <p:cNvSpPr txBox="1"/>
            <p:nvPr/>
          </p:nvSpPr>
          <p:spPr>
            <a:xfrm>
              <a:off x="7188682" y="2089418"/>
              <a:ext cx="168534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6A6C6D"/>
                  </a:solidFill>
                  <a:latin typeface="Century Gothic" panose="020B0502020202020204" pitchFamily="34" charset="0"/>
                </a:rPr>
                <a:t>Question </a:t>
              </a:r>
            </a:p>
            <a:p>
              <a:pPr algn="ctr"/>
              <a:r>
                <a:rPr lang="en-US" sz="2000" b="1" dirty="0">
                  <a:solidFill>
                    <a:srgbClr val="6A6C6D"/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  <p:sp>
          <p:nvSpPr>
            <p:cNvPr id="46" name="TextBox 35">
              <a:extLst>
                <a:ext uri="{FF2B5EF4-FFF2-40B4-BE49-F238E27FC236}">
                  <a16:creationId xmlns:a16="http://schemas.microsoft.com/office/drawing/2014/main" id="{FB2440E4-A089-4D1F-8D8E-A7D6A61D1057}"/>
                </a:ext>
              </a:extLst>
            </p:cNvPr>
            <p:cNvSpPr txBox="1"/>
            <p:nvPr/>
          </p:nvSpPr>
          <p:spPr>
            <a:xfrm>
              <a:off x="2667416" y="4403068"/>
              <a:ext cx="186914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es adaptive persuasion also work in a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alth promotion context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?</a:t>
              </a:r>
              <a:r>
                <a:rPr lang="en-US" sz="1400" dirty="0"/>
                <a:t> </a:t>
              </a:r>
            </a:p>
          </p:txBody>
        </p:sp>
        <p:sp>
          <p:nvSpPr>
            <p:cNvPr id="47" name="TextBox 36">
              <a:extLst>
                <a:ext uri="{FF2B5EF4-FFF2-40B4-BE49-F238E27FC236}">
                  <a16:creationId xmlns:a16="http://schemas.microsoft.com/office/drawing/2014/main" id="{0E9A7677-9BF5-4164-9364-25365C27C064}"/>
                </a:ext>
              </a:extLst>
            </p:cNvPr>
            <p:cNvSpPr txBox="1"/>
            <p:nvPr/>
          </p:nvSpPr>
          <p:spPr>
            <a:xfrm>
              <a:off x="7096784" y="4403068"/>
              <a:ext cx="186914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es AP actually have the ability to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voke behavioral change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?</a:t>
              </a:r>
            </a:p>
          </p:txBody>
        </p:sp>
        <p:sp>
          <p:nvSpPr>
            <p:cNvPr id="3" name="Rechthoek 2">
              <a:extLst>
                <a:ext uri="{FF2B5EF4-FFF2-40B4-BE49-F238E27FC236}">
                  <a16:creationId xmlns:a16="http://schemas.microsoft.com/office/drawing/2014/main" id="{A91297BE-F906-4F5C-9AA4-0D87A17F2512}"/>
                </a:ext>
              </a:extLst>
            </p:cNvPr>
            <p:cNvSpPr/>
            <p:nvPr/>
          </p:nvSpPr>
          <p:spPr>
            <a:xfrm>
              <a:off x="3342397" y="3693256"/>
              <a:ext cx="487228" cy="487228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  <p:sp>
          <p:nvSpPr>
            <p:cNvPr id="74" name="Rechthoek 73">
              <a:extLst>
                <a:ext uri="{FF2B5EF4-FFF2-40B4-BE49-F238E27FC236}">
                  <a16:creationId xmlns:a16="http://schemas.microsoft.com/office/drawing/2014/main" id="{4789CA5F-A655-4FB7-824B-1A16AFDA2B49}"/>
                </a:ext>
              </a:extLst>
            </p:cNvPr>
            <p:cNvSpPr/>
            <p:nvPr/>
          </p:nvSpPr>
          <p:spPr>
            <a:xfrm>
              <a:off x="7781509" y="3677125"/>
              <a:ext cx="499690" cy="549659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/>
            </a:p>
          </p:txBody>
        </p:sp>
      </p:grpSp>
    </p:spTree>
    <p:extLst>
      <p:ext uri="{BB962C8B-B14F-4D97-AF65-F5344CB8AC3E}">
        <p14:creationId xmlns:p14="http://schemas.microsoft.com/office/powerpoint/2010/main" val="1961167861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0894192-17FC-46C9-899C-FA0FCF35BA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3525397"/>
            <a:ext cx="6159500" cy="962383"/>
          </a:xfrm>
        </p:spPr>
        <p:txBody>
          <a:bodyPr/>
          <a:lstStyle/>
          <a:p>
            <a:r>
              <a:rPr lang="nl-NL" b="1" dirty="0"/>
              <a:t>METHODOLOGY</a:t>
            </a:r>
            <a:endParaRPr lang="en-NL" b="1" dirty="0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43976CA0-7A49-45A6-A037-5EC5B9BE0047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2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24196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warp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6129337"/>
            <a:ext cx="12192000" cy="7286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0BCB3E69-208B-434E-9AB6-F70038F94C2C}"/>
              </a:ext>
            </a:extLst>
          </p:cNvPr>
          <p:cNvGrpSpPr/>
          <p:nvPr/>
        </p:nvGrpSpPr>
        <p:grpSpPr>
          <a:xfrm>
            <a:off x="874713" y="3429000"/>
            <a:ext cx="3489192" cy="399593"/>
            <a:chOff x="874713" y="2844451"/>
            <a:chExt cx="3489192" cy="399593"/>
          </a:xfrm>
        </p:grpSpPr>
        <p:grpSp>
          <p:nvGrpSpPr>
            <p:cNvPr id="47" name="Group 12">
              <a:extLst>
                <a:ext uri="{FF2B5EF4-FFF2-40B4-BE49-F238E27FC236}">
                  <a16:creationId xmlns:a16="http://schemas.microsoft.com/office/drawing/2014/main" id="{D84DA442-C8C1-42BE-A509-26FB18A1F949}"/>
                </a:ext>
              </a:extLst>
            </p:cNvPr>
            <p:cNvGrpSpPr/>
            <p:nvPr/>
          </p:nvGrpSpPr>
          <p:grpSpPr>
            <a:xfrm>
              <a:off x="874713" y="2875744"/>
              <a:ext cx="487364" cy="368300"/>
              <a:chOff x="8102600" y="2926611"/>
              <a:chExt cx="487364" cy="368300"/>
            </a:xfrm>
          </p:grpSpPr>
          <p:sp>
            <p:nvSpPr>
              <p:cNvPr id="51" name="Oval 179">
                <a:extLst>
                  <a:ext uri="{FF2B5EF4-FFF2-40B4-BE49-F238E27FC236}">
                    <a16:creationId xmlns:a16="http://schemas.microsoft.com/office/drawing/2014/main" id="{2289FC8C-BAD4-4F2A-9C1F-D4B076552795}"/>
                  </a:ext>
                </a:extLst>
              </p:cNvPr>
              <p:cNvSpPr/>
              <p:nvPr/>
            </p:nvSpPr>
            <p:spPr>
              <a:xfrm>
                <a:off x="8102600" y="2926611"/>
                <a:ext cx="368300" cy="368300"/>
              </a:xfrm>
              <a:prstGeom prst="ellipse">
                <a:avLst/>
              </a:prstGeom>
              <a:solidFill>
                <a:srgbClr val="F6B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188">
                <a:extLst>
                  <a:ext uri="{FF2B5EF4-FFF2-40B4-BE49-F238E27FC236}">
                    <a16:creationId xmlns:a16="http://schemas.microsoft.com/office/drawing/2014/main" id="{55E6547E-E708-42AB-B11E-497D8025979E}"/>
                  </a:ext>
                </a:extLst>
              </p:cNvPr>
              <p:cNvSpPr/>
              <p:nvPr/>
            </p:nvSpPr>
            <p:spPr>
              <a:xfrm>
                <a:off x="8221664" y="2926611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F6B8B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8" name="TextBox 192">
              <a:extLst>
                <a:ext uri="{FF2B5EF4-FFF2-40B4-BE49-F238E27FC236}">
                  <a16:creationId xmlns:a16="http://schemas.microsoft.com/office/drawing/2014/main" id="{FC3D56CC-4363-4AF9-8E96-8E339BC53C8A}"/>
                </a:ext>
              </a:extLst>
            </p:cNvPr>
            <p:cNvSpPr txBox="1"/>
            <p:nvPr/>
          </p:nvSpPr>
          <p:spPr>
            <a:xfrm>
              <a:off x="1713841" y="2844451"/>
              <a:ext cx="26500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ercises mostly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y own initiative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74713" y="318367"/>
            <a:ext cx="299761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ethodology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752476" y="0"/>
            <a:ext cx="1047750" cy="162417"/>
          </a:xfrm>
          <a:custGeom>
            <a:avLst/>
            <a:gdLst>
              <a:gd name="T0" fmla="*/ 0 w 561"/>
              <a:gd name="T1" fmla="*/ 0 h 84"/>
              <a:gd name="T2" fmla="*/ 183 w 561"/>
              <a:gd name="T3" fmla="*/ 70 h 84"/>
              <a:gd name="T4" fmla="*/ 561 w 561"/>
              <a:gd name="T5" fmla="*/ 0 h 84"/>
              <a:gd name="T6" fmla="*/ 0 w 561"/>
              <a:gd name="T7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1" h="84">
                <a:moveTo>
                  <a:pt x="0" y="0"/>
                </a:moveTo>
                <a:cubicBezTo>
                  <a:pt x="0" y="0"/>
                  <a:pt x="55" y="56"/>
                  <a:pt x="183" y="70"/>
                </a:cubicBezTo>
                <a:cubicBezTo>
                  <a:pt x="311" y="84"/>
                  <a:pt x="469" y="4"/>
                  <a:pt x="56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77" name="Ovaal 76">
            <a:extLst>
              <a:ext uri="{FF2B5EF4-FFF2-40B4-BE49-F238E27FC236}">
                <a16:creationId xmlns:a16="http://schemas.microsoft.com/office/drawing/2014/main" id="{ED456466-783B-4D68-8E4B-927E9F646AE5}"/>
              </a:ext>
            </a:extLst>
          </p:cNvPr>
          <p:cNvSpPr/>
          <p:nvPr/>
        </p:nvSpPr>
        <p:spPr>
          <a:xfrm>
            <a:off x="1189578" y="-921181"/>
            <a:ext cx="559836" cy="559836"/>
          </a:xfrm>
          <a:prstGeom prst="ellipse">
            <a:avLst/>
          </a:prstGeom>
          <a:solidFill>
            <a:srgbClr val="C8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26" name="Ovaal 125">
            <a:extLst>
              <a:ext uri="{FF2B5EF4-FFF2-40B4-BE49-F238E27FC236}">
                <a16:creationId xmlns:a16="http://schemas.microsoft.com/office/drawing/2014/main" id="{1DE9EFFE-1087-4894-A2C6-B92161C34DDB}"/>
              </a:ext>
            </a:extLst>
          </p:cNvPr>
          <p:cNvSpPr/>
          <p:nvPr/>
        </p:nvSpPr>
        <p:spPr>
          <a:xfrm>
            <a:off x="2000681" y="-917516"/>
            <a:ext cx="559836" cy="559836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43" name="TextBox 6">
            <a:extLst>
              <a:ext uri="{FF2B5EF4-FFF2-40B4-BE49-F238E27FC236}">
                <a16:creationId xmlns:a16="http://schemas.microsoft.com/office/drawing/2014/main" id="{00A94A58-3648-4FDF-A48B-4EA51B723C35}"/>
              </a:ext>
            </a:extLst>
          </p:cNvPr>
          <p:cNvSpPr txBox="1"/>
          <p:nvPr/>
        </p:nvSpPr>
        <p:spPr>
          <a:xfrm>
            <a:off x="874713" y="910465"/>
            <a:ext cx="2887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ystem context</a:t>
            </a:r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38CD91A5-D4CE-4CB5-8A7F-89DD87519C26}"/>
              </a:ext>
            </a:extLst>
          </p:cNvPr>
          <p:cNvGrpSpPr/>
          <p:nvPr/>
        </p:nvGrpSpPr>
        <p:grpSpPr>
          <a:xfrm>
            <a:off x="1362077" y="2219287"/>
            <a:ext cx="3489192" cy="430887"/>
            <a:chOff x="874713" y="1817231"/>
            <a:chExt cx="3489192" cy="430887"/>
          </a:xfrm>
        </p:grpSpPr>
        <p:grpSp>
          <p:nvGrpSpPr>
            <p:cNvPr id="56" name="Group 13">
              <a:extLst>
                <a:ext uri="{FF2B5EF4-FFF2-40B4-BE49-F238E27FC236}">
                  <a16:creationId xmlns:a16="http://schemas.microsoft.com/office/drawing/2014/main" id="{04753109-7078-4A58-88AE-7F61A6D59593}"/>
                </a:ext>
              </a:extLst>
            </p:cNvPr>
            <p:cNvGrpSpPr/>
            <p:nvPr/>
          </p:nvGrpSpPr>
          <p:grpSpPr>
            <a:xfrm>
              <a:off x="874713" y="1848524"/>
              <a:ext cx="487364" cy="368300"/>
              <a:chOff x="8102600" y="2032000"/>
              <a:chExt cx="487364" cy="368300"/>
            </a:xfrm>
          </p:grpSpPr>
          <p:sp>
            <p:nvSpPr>
              <p:cNvPr id="58" name="Oval 2">
                <a:extLst>
                  <a:ext uri="{FF2B5EF4-FFF2-40B4-BE49-F238E27FC236}">
                    <a16:creationId xmlns:a16="http://schemas.microsoft.com/office/drawing/2014/main" id="{7636993B-BC27-4D90-9373-E0FA17EB5F7A}"/>
                  </a:ext>
                </a:extLst>
              </p:cNvPr>
              <p:cNvSpPr/>
              <p:nvPr/>
            </p:nvSpPr>
            <p:spPr>
              <a:xfrm>
                <a:off x="8102600" y="2032000"/>
                <a:ext cx="368300" cy="368300"/>
              </a:xfrm>
              <a:prstGeom prst="ellipse">
                <a:avLst/>
              </a:prstGeom>
              <a:solidFill>
                <a:srgbClr val="C819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187">
                <a:extLst>
                  <a:ext uri="{FF2B5EF4-FFF2-40B4-BE49-F238E27FC236}">
                    <a16:creationId xmlns:a16="http://schemas.microsoft.com/office/drawing/2014/main" id="{5F0FB9DF-332F-4733-8817-8EF2016B319B}"/>
                  </a:ext>
                </a:extLst>
              </p:cNvPr>
              <p:cNvSpPr/>
              <p:nvPr/>
            </p:nvSpPr>
            <p:spPr>
              <a:xfrm>
                <a:off x="8221664" y="2032000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7" name="TextBox 191">
              <a:extLst>
                <a:ext uri="{FF2B5EF4-FFF2-40B4-BE49-F238E27FC236}">
                  <a16:creationId xmlns:a16="http://schemas.microsoft.com/office/drawing/2014/main" id="{5C9683A5-CB64-4377-803F-45ACB0154E9E}"/>
                </a:ext>
              </a:extLst>
            </p:cNvPr>
            <p:cNvSpPr txBox="1"/>
            <p:nvPr/>
          </p:nvSpPr>
          <p:spPr>
            <a:xfrm>
              <a:off x="1713841" y="181723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Users interact with 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Health solutions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A723997E-8F79-46D8-A188-0F0F8CD78D48}"/>
              </a:ext>
            </a:extLst>
          </p:cNvPr>
          <p:cNvGrpSpPr/>
          <p:nvPr/>
        </p:nvGrpSpPr>
        <p:grpSpPr>
          <a:xfrm>
            <a:off x="1362077" y="4638713"/>
            <a:ext cx="3489192" cy="430887"/>
            <a:chOff x="874713" y="3871671"/>
            <a:chExt cx="3489192" cy="430887"/>
          </a:xfrm>
        </p:grpSpPr>
        <p:grpSp>
          <p:nvGrpSpPr>
            <p:cNvPr id="43" name="Group 5">
              <a:extLst>
                <a:ext uri="{FF2B5EF4-FFF2-40B4-BE49-F238E27FC236}">
                  <a16:creationId xmlns:a16="http://schemas.microsoft.com/office/drawing/2014/main" id="{80AD3F42-6668-4181-84C1-E03F5D111A36}"/>
                </a:ext>
              </a:extLst>
            </p:cNvPr>
            <p:cNvGrpSpPr/>
            <p:nvPr/>
          </p:nvGrpSpPr>
          <p:grpSpPr>
            <a:xfrm>
              <a:off x="874713" y="3902964"/>
              <a:ext cx="487364" cy="368300"/>
              <a:chOff x="8102600" y="3821222"/>
              <a:chExt cx="487364" cy="368300"/>
            </a:xfrm>
          </p:grpSpPr>
          <p:sp>
            <p:nvSpPr>
              <p:cNvPr id="45" name="Oval 180">
                <a:extLst>
                  <a:ext uri="{FF2B5EF4-FFF2-40B4-BE49-F238E27FC236}">
                    <a16:creationId xmlns:a16="http://schemas.microsoft.com/office/drawing/2014/main" id="{3CF9965C-CFAD-4952-9A57-B36195431BC5}"/>
                  </a:ext>
                </a:extLst>
              </p:cNvPr>
              <p:cNvSpPr/>
              <p:nvPr/>
            </p:nvSpPr>
            <p:spPr>
              <a:xfrm>
                <a:off x="8102600" y="3821222"/>
                <a:ext cx="368300" cy="368300"/>
              </a:xfrm>
              <a:prstGeom prst="ellipse">
                <a:avLst/>
              </a:prstGeom>
              <a:solidFill>
                <a:srgbClr val="3B38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Oval 189">
                <a:extLst>
                  <a:ext uri="{FF2B5EF4-FFF2-40B4-BE49-F238E27FC236}">
                    <a16:creationId xmlns:a16="http://schemas.microsoft.com/office/drawing/2014/main" id="{BD4A211D-D6C1-471E-A086-A69B7B562521}"/>
                  </a:ext>
                </a:extLst>
              </p:cNvPr>
              <p:cNvSpPr/>
              <p:nvPr/>
            </p:nvSpPr>
            <p:spPr>
              <a:xfrm>
                <a:off x="8221664" y="3821222"/>
                <a:ext cx="368300" cy="368300"/>
              </a:xfrm>
              <a:prstGeom prst="ellipse">
                <a:avLst/>
              </a:prstGeom>
              <a:noFill/>
              <a:ln>
                <a:solidFill>
                  <a:srgbClr val="3B38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4" name="TextBox 193">
              <a:extLst>
                <a:ext uri="{FF2B5EF4-FFF2-40B4-BE49-F238E27FC236}">
                  <a16:creationId xmlns:a16="http://schemas.microsoft.com/office/drawing/2014/main" id="{7D6EAE88-6997-45F1-90EB-CA12A788D523}"/>
                </a:ext>
              </a:extLst>
            </p:cNvPr>
            <p:cNvSpPr txBox="1"/>
            <p:nvPr/>
          </p:nvSpPr>
          <p:spPr>
            <a:xfrm>
              <a:off x="1713841" y="3871671"/>
              <a:ext cx="265006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PMA </a:t>
              </a: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erves to motivate and nudge user into using application</a:t>
              </a:r>
            </a:p>
          </p:txBody>
        </p:sp>
      </p:grpSp>
      <p:sp>
        <p:nvSpPr>
          <p:cNvPr id="316" name="Oval 179">
            <a:extLst>
              <a:ext uri="{FF2B5EF4-FFF2-40B4-BE49-F238E27FC236}">
                <a16:creationId xmlns:a16="http://schemas.microsoft.com/office/drawing/2014/main" id="{17BAE386-1B43-44A3-A60B-4D1645F710B1}"/>
              </a:ext>
            </a:extLst>
          </p:cNvPr>
          <p:cNvSpPr/>
          <p:nvPr/>
        </p:nvSpPr>
        <p:spPr>
          <a:xfrm>
            <a:off x="2811784" y="-915343"/>
            <a:ext cx="553998" cy="553998"/>
          </a:xfrm>
          <a:prstGeom prst="ellipse">
            <a:avLst/>
          </a:prstGeom>
          <a:solidFill>
            <a:srgbClr val="F6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hoek 88">
            <a:extLst>
              <a:ext uri="{FF2B5EF4-FFF2-40B4-BE49-F238E27FC236}">
                <a16:creationId xmlns:a16="http://schemas.microsoft.com/office/drawing/2014/main" id="{869F64BB-0F47-46B6-951E-77E1A3F9C85B}"/>
              </a:ext>
            </a:extLst>
          </p:cNvPr>
          <p:cNvSpPr/>
          <p:nvPr/>
        </p:nvSpPr>
        <p:spPr>
          <a:xfrm>
            <a:off x="10121831" y="318367"/>
            <a:ext cx="1847537" cy="553998"/>
          </a:xfrm>
          <a:prstGeom prst="rect">
            <a:avLst/>
          </a:prstGeom>
          <a:blipFill dpi="0" rotWithShape="1">
            <a:blip r:embed="rId3">
              <a:alphaModFix amt="28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grpSp>
        <p:nvGrpSpPr>
          <p:cNvPr id="144" name="Groep 143">
            <a:extLst>
              <a:ext uri="{FF2B5EF4-FFF2-40B4-BE49-F238E27FC236}">
                <a16:creationId xmlns:a16="http://schemas.microsoft.com/office/drawing/2014/main" id="{FBFE8B6E-A8FF-4F81-B455-8AA820904156}"/>
              </a:ext>
            </a:extLst>
          </p:cNvPr>
          <p:cNvGrpSpPr/>
          <p:nvPr/>
        </p:nvGrpSpPr>
        <p:grpSpPr>
          <a:xfrm>
            <a:off x="6529233" y="910465"/>
            <a:ext cx="4421631" cy="5092481"/>
            <a:chOff x="6529233" y="910465"/>
            <a:chExt cx="4421631" cy="5092481"/>
          </a:xfrm>
        </p:grpSpPr>
        <p:grpSp>
          <p:nvGrpSpPr>
            <p:cNvPr id="142" name="Groep 141">
              <a:extLst>
                <a:ext uri="{FF2B5EF4-FFF2-40B4-BE49-F238E27FC236}">
                  <a16:creationId xmlns:a16="http://schemas.microsoft.com/office/drawing/2014/main" id="{7CDBC32C-C96D-4BB0-9403-B0C4EBE8B947}"/>
                </a:ext>
              </a:extLst>
            </p:cNvPr>
            <p:cNvGrpSpPr/>
            <p:nvPr/>
          </p:nvGrpSpPr>
          <p:grpSpPr>
            <a:xfrm>
              <a:off x="6529233" y="910465"/>
              <a:ext cx="2150546" cy="5092481"/>
              <a:chOff x="6529233" y="910465"/>
              <a:chExt cx="2150546" cy="5092481"/>
            </a:xfrm>
          </p:grpSpPr>
          <p:sp>
            <p:nvSpPr>
              <p:cNvPr id="90" name="Rechthoek: afgeronde hoeken 89">
                <a:extLst>
                  <a:ext uri="{FF2B5EF4-FFF2-40B4-BE49-F238E27FC236}">
                    <a16:creationId xmlns:a16="http://schemas.microsoft.com/office/drawing/2014/main" id="{1A744A3A-DF39-43BE-B178-C7D76D960702}"/>
                  </a:ext>
                </a:extLst>
              </p:cNvPr>
              <p:cNvSpPr/>
              <p:nvPr/>
            </p:nvSpPr>
            <p:spPr>
              <a:xfrm>
                <a:off x="6529233" y="910465"/>
                <a:ext cx="2150546" cy="5092481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0" name="Rechthoek: afgeronde hoeken 9">
                <a:extLst>
                  <a:ext uri="{FF2B5EF4-FFF2-40B4-BE49-F238E27FC236}">
                    <a16:creationId xmlns:a16="http://schemas.microsoft.com/office/drawing/2014/main" id="{EF4C00E1-04F8-4063-B1F6-805954D74E7D}"/>
                  </a:ext>
                </a:extLst>
              </p:cNvPr>
              <p:cNvSpPr/>
              <p:nvPr/>
            </p:nvSpPr>
            <p:spPr>
              <a:xfrm>
                <a:off x="6649772" y="1030812"/>
                <a:ext cx="1909469" cy="4851787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User</a:t>
                </a:r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" name="Rechthoek 3">
                <a:extLst>
                  <a:ext uri="{FF2B5EF4-FFF2-40B4-BE49-F238E27FC236}">
                    <a16:creationId xmlns:a16="http://schemas.microsoft.com/office/drawing/2014/main" id="{7AB8246F-118C-4FD0-8960-24282EBC793C}"/>
                  </a:ext>
                </a:extLst>
              </p:cNvPr>
              <p:cNvSpPr/>
              <p:nvPr/>
            </p:nvSpPr>
            <p:spPr>
              <a:xfrm>
                <a:off x="7044559" y="4513673"/>
                <a:ext cx="1119895" cy="1119895"/>
              </a:xfrm>
              <a:prstGeom prst="rect">
                <a:avLst/>
              </a:prstGeom>
              <a:blipFill dpi="0" rotWithShape="1">
                <a:blip r:embed="rId4">
                  <a:alphaModFix amt="6000"/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  <p:grpSp>
          <p:nvGrpSpPr>
            <p:cNvPr id="137" name="Groep 136">
              <a:extLst>
                <a:ext uri="{FF2B5EF4-FFF2-40B4-BE49-F238E27FC236}">
                  <a16:creationId xmlns:a16="http://schemas.microsoft.com/office/drawing/2014/main" id="{6CD8B877-9C33-49A1-9873-EFEC7EE3EA3D}"/>
                </a:ext>
              </a:extLst>
            </p:cNvPr>
            <p:cNvGrpSpPr/>
            <p:nvPr/>
          </p:nvGrpSpPr>
          <p:grpSpPr>
            <a:xfrm>
              <a:off x="8800318" y="910465"/>
              <a:ext cx="2150546" cy="5092481"/>
              <a:chOff x="8800318" y="910465"/>
              <a:chExt cx="2150546" cy="5092481"/>
            </a:xfrm>
          </p:grpSpPr>
          <p:sp>
            <p:nvSpPr>
              <p:cNvPr id="92" name="Rechthoek: afgeronde hoeken 91">
                <a:extLst>
                  <a:ext uri="{FF2B5EF4-FFF2-40B4-BE49-F238E27FC236}">
                    <a16:creationId xmlns:a16="http://schemas.microsoft.com/office/drawing/2014/main" id="{158C780E-4747-4C52-BF41-5140F5D06283}"/>
                  </a:ext>
                </a:extLst>
              </p:cNvPr>
              <p:cNvSpPr/>
              <p:nvPr/>
            </p:nvSpPr>
            <p:spPr>
              <a:xfrm>
                <a:off x="8800318" y="910465"/>
                <a:ext cx="2150546" cy="5092481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94" name="Rechthoek: afgeronde hoeken 93">
                <a:extLst>
                  <a:ext uri="{FF2B5EF4-FFF2-40B4-BE49-F238E27FC236}">
                    <a16:creationId xmlns:a16="http://schemas.microsoft.com/office/drawing/2014/main" id="{AA1FEC0D-FF7E-41E6-BEAF-60BFE8765CC2}"/>
                  </a:ext>
                </a:extLst>
              </p:cNvPr>
              <p:cNvSpPr/>
              <p:nvPr/>
            </p:nvSpPr>
            <p:spPr>
              <a:xfrm>
                <a:off x="8920857" y="1030812"/>
                <a:ext cx="1909469" cy="4851787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Health app</a:t>
                </a:r>
                <a:endParaRPr lang="en-NL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95" name="Rechthoek 94">
                <a:extLst>
                  <a:ext uri="{FF2B5EF4-FFF2-40B4-BE49-F238E27FC236}">
                    <a16:creationId xmlns:a16="http://schemas.microsoft.com/office/drawing/2014/main" id="{44A36C4E-C701-4D93-B121-C8EFDBD97272}"/>
                  </a:ext>
                </a:extLst>
              </p:cNvPr>
              <p:cNvSpPr/>
              <p:nvPr/>
            </p:nvSpPr>
            <p:spPr>
              <a:xfrm>
                <a:off x="9315644" y="4509134"/>
                <a:ext cx="1119895" cy="1119895"/>
              </a:xfrm>
              <a:prstGeom prst="rect">
                <a:avLst/>
              </a:prstGeom>
              <a:blipFill dpi="0" rotWithShape="1">
                <a:blip r:embed="rId5">
                  <a:alphaModFix amt="6000"/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NL"/>
              </a:p>
            </p:txBody>
          </p:sp>
        </p:grpSp>
      </p:grpSp>
      <p:grpSp>
        <p:nvGrpSpPr>
          <p:cNvPr id="152" name="Groep 151">
            <a:extLst>
              <a:ext uri="{FF2B5EF4-FFF2-40B4-BE49-F238E27FC236}">
                <a16:creationId xmlns:a16="http://schemas.microsoft.com/office/drawing/2014/main" id="{DEBE2273-AFE7-4E2E-A237-3790351140A3}"/>
              </a:ext>
            </a:extLst>
          </p:cNvPr>
          <p:cNvGrpSpPr/>
          <p:nvPr/>
        </p:nvGrpSpPr>
        <p:grpSpPr>
          <a:xfrm>
            <a:off x="7146703" y="1751875"/>
            <a:ext cx="3730737" cy="4045502"/>
            <a:chOff x="7146703" y="1751875"/>
            <a:chExt cx="3730737" cy="4045502"/>
          </a:xfrm>
        </p:grpSpPr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725ACE83-0EC7-4DF0-8C2A-4E29B62C79C4}"/>
                </a:ext>
              </a:extLst>
            </p:cNvPr>
            <p:cNvSpPr/>
            <p:nvPr/>
          </p:nvSpPr>
          <p:spPr>
            <a:xfrm>
              <a:off x="7408838" y="1852888"/>
              <a:ext cx="391335" cy="39133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4" name="Rechthoek: afgeronde hoeken 13">
              <a:extLst>
                <a:ext uri="{FF2B5EF4-FFF2-40B4-BE49-F238E27FC236}">
                  <a16:creationId xmlns:a16="http://schemas.microsoft.com/office/drawing/2014/main" id="{B0502C00-EA26-4685-B756-342456B664D9}"/>
                </a:ext>
              </a:extLst>
            </p:cNvPr>
            <p:cNvSpPr/>
            <p:nvPr/>
          </p:nvSpPr>
          <p:spPr>
            <a:xfrm>
              <a:off x="9410076" y="1751875"/>
              <a:ext cx="914400" cy="59336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100" dirty="0"/>
                <a:t>CHECK NEWSFEED</a:t>
              </a:r>
              <a:endParaRPr lang="en-NL" sz="1100" dirty="0"/>
            </a:p>
          </p:txBody>
        </p:sp>
        <p:cxnSp>
          <p:nvCxnSpPr>
            <p:cNvPr id="17" name="Rechte verbindingslijn met pijl 16">
              <a:extLst>
                <a:ext uri="{FF2B5EF4-FFF2-40B4-BE49-F238E27FC236}">
                  <a16:creationId xmlns:a16="http://schemas.microsoft.com/office/drawing/2014/main" id="{68E5E406-3E34-440F-B51A-55D968D241D1}"/>
                </a:ext>
              </a:extLst>
            </p:cNvPr>
            <p:cNvCxnSpPr>
              <a:stCxn id="12" idx="6"/>
              <a:endCxn id="14" idx="1"/>
            </p:cNvCxnSpPr>
            <p:nvPr/>
          </p:nvCxnSpPr>
          <p:spPr>
            <a:xfrm flipV="1">
              <a:off x="7800173" y="2048555"/>
              <a:ext cx="1609903" cy="1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hthoek: afgeronde hoeken 95">
              <a:extLst>
                <a:ext uri="{FF2B5EF4-FFF2-40B4-BE49-F238E27FC236}">
                  <a16:creationId xmlns:a16="http://schemas.microsoft.com/office/drawing/2014/main" id="{DC27FC84-E847-4C6D-B3A3-17A995F9FE9F}"/>
                </a:ext>
              </a:extLst>
            </p:cNvPr>
            <p:cNvSpPr/>
            <p:nvPr/>
          </p:nvSpPr>
          <p:spPr>
            <a:xfrm>
              <a:off x="7146703" y="2803848"/>
              <a:ext cx="915603" cy="594141"/>
            </a:xfrm>
            <a:prstGeom prst="roundRect">
              <a:avLst/>
            </a:prstGeom>
            <a:solidFill>
              <a:srgbClr val="C8191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100" dirty="0"/>
                <a:t>EXERCISE</a:t>
              </a:r>
              <a:endParaRPr lang="en-NL" sz="1100" dirty="0"/>
            </a:p>
          </p:txBody>
        </p:sp>
        <p:cxnSp>
          <p:nvCxnSpPr>
            <p:cNvPr id="97" name="Rechte verbindingslijn met pijl 96">
              <a:extLst>
                <a:ext uri="{FF2B5EF4-FFF2-40B4-BE49-F238E27FC236}">
                  <a16:creationId xmlns:a16="http://schemas.microsoft.com/office/drawing/2014/main" id="{A91DB27A-6F02-4DD2-9455-F8CFED00460D}"/>
                </a:ext>
              </a:extLst>
            </p:cNvPr>
            <p:cNvCxnSpPr>
              <a:cxnSpLocks/>
              <a:stCxn id="12" idx="4"/>
              <a:endCxn id="96" idx="0"/>
            </p:cNvCxnSpPr>
            <p:nvPr/>
          </p:nvCxnSpPr>
          <p:spPr>
            <a:xfrm flipH="1">
              <a:off x="7604505" y="2244223"/>
              <a:ext cx="1" cy="559625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CFA0BFD9-5A9F-4F90-B8C0-B24ECB47D12F}"/>
                </a:ext>
              </a:extLst>
            </p:cNvPr>
            <p:cNvGrpSpPr/>
            <p:nvPr/>
          </p:nvGrpSpPr>
          <p:grpSpPr>
            <a:xfrm>
              <a:off x="9376810" y="2772306"/>
              <a:ext cx="980933" cy="657225"/>
              <a:chOff x="9376810" y="2743379"/>
              <a:chExt cx="980933" cy="657225"/>
            </a:xfrm>
          </p:grpSpPr>
          <p:sp>
            <p:nvSpPr>
              <p:cNvPr id="22" name="Stroomdiagram: Beslissing 21">
                <a:extLst>
                  <a:ext uri="{FF2B5EF4-FFF2-40B4-BE49-F238E27FC236}">
                    <a16:creationId xmlns:a16="http://schemas.microsoft.com/office/drawing/2014/main" id="{64D9C203-9AE1-4093-83FF-85C248CF2720}"/>
                  </a:ext>
                </a:extLst>
              </p:cNvPr>
              <p:cNvSpPr/>
              <p:nvPr/>
            </p:nvSpPr>
            <p:spPr>
              <a:xfrm>
                <a:off x="9376810" y="2743379"/>
                <a:ext cx="980933" cy="657225"/>
              </a:xfrm>
              <a:prstGeom prst="flowChartDecision">
                <a:avLst/>
              </a:prstGeom>
              <a:solidFill>
                <a:schemeClr val="bg1"/>
              </a:solidFill>
              <a:ln w="34925" cap="rnd">
                <a:solidFill>
                  <a:schemeClr val="bg1">
                    <a:lumMod val="50000"/>
                  </a:schemeClr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NL" sz="800" dirty="0">
                  <a:solidFill>
                    <a:srgbClr val="5A5656"/>
                  </a:solidFill>
                </a:endParaRPr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D5C121DE-ADDA-4D0A-9D2D-76EB1D83A6BD}"/>
                  </a:ext>
                </a:extLst>
              </p:cNvPr>
              <p:cNvSpPr txBox="1"/>
              <p:nvPr/>
            </p:nvSpPr>
            <p:spPr>
              <a:xfrm>
                <a:off x="9471036" y="2964269"/>
                <a:ext cx="79248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OTIVATED?</a:t>
                </a:r>
                <a:endParaRPr lang="en-NL" sz="8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100" name="Rechte verbindingslijn met pijl 99">
              <a:extLst>
                <a:ext uri="{FF2B5EF4-FFF2-40B4-BE49-F238E27FC236}">
                  <a16:creationId xmlns:a16="http://schemas.microsoft.com/office/drawing/2014/main" id="{AFD2C5B6-3ED9-4B8B-8F64-B525CA8E88C5}"/>
                </a:ext>
              </a:extLst>
            </p:cNvPr>
            <p:cNvCxnSpPr>
              <a:cxnSpLocks/>
              <a:stCxn id="14" idx="2"/>
              <a:endCxn id="22" idx="0"/>
            </p:cNvCxnSpPr>
            <p:nvPr/>
          </p:nvCxnSpPr>
          <p:spPr>
            <a:xfrm>
              <a:off x="9867276" y="2345235"/>
              <a:ext cx="1" cy="427071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Groep 97">
              <a:extLst>
                <a:ext uri="{FF2B5EF4-FFF2-40B4-BE49-F238E27FC236}">
                  <a16:creationId xmlns:a16="http://schemas.microsoft.com/office/drawing/2014/main" id="{6C5DD0CA-5215-41FE-9447-1B4E5AB4CC30}"/>
                </a:ext>
              </a:extLst>
            </p:cNvPr>
            <p:cNvGrpSpPr/>
            <p:nvPr/>
          </p:nvGrpSpPr>
          <p:grpSpPr>
            <a:xfrm>
              <a:off x="8062306" y="2916252"/>
              <a:ext cx="1374773" cy="369332"/>
              <a:chOff x="8062306" y="2866175"/>
              <a:chExt cx="1374773" cy="369332"/>
            </a:xfrm>
          </p:grpSpPr>
          <p:cxnSp>
            <p:nvCxnSpPr>
              <p:cNvPr id="103" name="Rechte verbindingslijn met pijl 102">
                <a:extLst>
                  <a:ext uri="{FF2B5EF4-FFF2-40B4-BE49-F238E27FC236}">
                    <a16:creationId xmlns:a16="http://schemas.microsoft.com/office/drawing/2014/main" id="{C35312BF-69D1-406D-B309-1F88039485D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062306" y="3050841"/>
                <a:ext cx="763767" cy="0"/>
              </a:xfrm>
              <a:prstGeom prst="straightConnector1">
                <a:avLst/>
              </a:prstGeom>
              <a:ln w="25400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6" name="Tekstvak 105">
                <a:extLst>
                  <a:ext uri="{FF2B5EF4-FFF2-40B4-BE49-F238E27FC236}">
                    <a16:creationId xmlns:a16="http://schemas.microsoft.com/office/drawing/2014/main" id="{2CFD9E3E-46C2-4B47-9934-06895E74210F}"/>
                  </a:ext>
                </a:extLst>
              </p:cNvPr>
              <p:cNvSpPr txBox="1"/>
              <p:nvPr/>
            </p:nvSpPr>
            <p:spPr>
              <a:xfrm>
                <a:off x="8860030" y="2866175"/>
                <a:ext cx="577049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YES</a:t>
                </a:r>
                <a:endParaRPr lang="en-NL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113" name="Rechte verbindingslijn met pijl 112">
              <a:extLst>
                <a:ext uri="{FF2B5EF4-FFF2-40B4-BE49-F238E27FC236}">
                  <a16:creationId xmlns:a16="http://schemas.microsoft.com/office/drawing/2014/main" id="{7DB76D7C-A87C-4299-9F77-65BD8967CAF5}"/>
                </a:ext>
              </a:extLst>
            </p:cNvPr>
            <p:cNvCxnSpPr>
              <a:cxnSpLocks/>
              <a:stCxn id="114" idx="2"/>
              <a:endCxn id="121" idx="6"/>
            </p:cNvCxnSpPr>
            <p:nvPr/>
          </p:nvCxnSpPr>
          <p:spPr>
            <a:xfrm rot="5400000">
              <a:off x="9192054" y="4164789"/>
              <a:ext cx="2316126" cy="557717"/>
            </a:xfrm>
            <a:prstGeom prst="bentConnector2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kstvak 113">
              <a:extLst>
                <a:ext uri="{FF2B5EF4-FFF2-40B4-BE49-F238E27FC236}">
                  <a16:creationId xmlns:a16="http://schemas.microsoft.com/office/drawing/2014/main" id="{D0F84586-246C-46F7-B38C-04163FB8D076}"/>
                </a:ext>
              </a:extLst>
            </p:cNvPr>
            <p:cNvSpPr txBox="1"/>
            <p:nvPr/>
          </p:nvSpPr>
          <p:spPr>
            <a:xfrm>
              <a:off x="10380510" y="2916252"/>
              <a:ext cx="4969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</a:t>
              </a:r>
              <a:endParaRPr lang="en-NL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1" name="Ovaal 120">
              <a:extLst>
                <a:ext uri="{FF2B5EF4-FFF2-40B4-BE49-F238E27FC236}">
                  <a16:creationId xmlns:a16="http://schemas.microsoft.com/office/drawing/2014/main" id="{BE98C7A1-8A8C-4A6B-8DA1-C1E98231DADC}"/>
                </a:ext>
              </a:extLst>
            </p:cNvPr>
            <p:cNvSpPr/>
            <p:nvPr/>
          </p:nvSpPr>
          <p:spPr>
            <a:xfrm>
              <a:off x="9679923" y="5406042"/>
              <a:ext cx="391335" cy="39133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L" dirty="0"/>
            </a:p>
          </p:txBody>
        </p:sp>
        <p:sp>
          <p:nvSpPr>
            <p:cNvPr id="131" name="Rechthoek: afgeronde hoeken 130">
              <a:extLst>
                <a:ext uri="{FF2B5EF4-FFF2-40B4-BE49-F238E27FC236}">
                  <a16:creationId xmlns:a16="http://schemas.microsoft.com/office/drawing/2014/main" id="{764FBFBA-26EC-43EA-8D7C-A3A64D7FD97D}"/>
                </a:ext>
              </a:extLst>
            </p:cNvPr>
            <p:cNvSpPr/>
            <p:nvPr/>
          </p:nvSpPr>
          <p:spPr>
            <a:xfrm>
              <a:off x="9418391" y="3862891"/>
              <a:ext cx="914400" cy="59336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100" dirty="0"/>
                <a:t>LOG ACTIVITY</a:t>
              </a:r>
              <a:endParaRPr lang="en-NL" sz="1100" dirty="0"/>
            </a:p>
          </p:txBody>
        </p:sp>
        <p:cxnSp>
          <p:nvCxnSpPr>
            <p:cNvPr id="135" name="Rechte verbindingslijn met pijl 134">
              <a:extLst>
                <a:ext uri="{FF2B5EF4-FFF2-40B4-BE49-F238E27FC236}">
                  <a16:creationId xmlns:a16="http://schemas.microsoft.com/office/drawing/2014/main" id="{8DE31E50-DD42-438B-8FC9-D2DE12A6DC9A}"/>
                </a:ext>
              </a:extLst>
            </p:cNvPr>
            <p:cNvCxnSpPr>
              <a:cxnSpLocks/>
              <a:stCxn id="131" idx="2"/>
              <a:endCxn id="121" idx="0"/>
            </p:cNvCxnSpPr>
            <p:nvPr/>
          </p:nvCxnSpPr>
          <p:spPr>
            <a:xfrm>
              <a:off x="9875591" y="4456251"/>
              <a:ext cx="0" cy="949791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Rechte verbindingslijn met pijl 112">
              <a:extLst>
                <a:ext uri="{FF2B5EF4-FFF2-40B4-BE49-F238E27FC236}">
                  <a16:creationId xmlns:a16="http://schemas.microsoft.com/office/drawing/2014/main" id="{8D6F8E06-7ABB-498F-9DEC-6CB6B654D53C}"/>
                </a:ext>
              </a:extLst>
            </p:cNvPr>
            <p:cNvCxnSpPr>
              <a:cxnSpLocks/>
              <a:stCxn id="96" idx="2"/>
              <a:endCxn id="131" idx="1"/>
            </p:cNvCxnSpPr>
            <p:nvPr/>
          </p:nvCxnSpPr>
          <p:spPr>
            <a:xfrm rot="16200000" flipH="1">
              <a:off x="8130657" y="2871837"/>
              <a:ext cx="761582" cy="1813886"/>
            </a:xfrm>
            <a:prstGeom prst="bentConnector2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16382992"/>
      </p:ext>
    </p:extLst>
  </p:cSld>
  <p:clrMapOvr>
    <a:masterClrMapping/>
  </p:clrMapOvr>
  <p:transition spd="med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92</TotalTime>
  <Words>1039</Words>
  <Application>Microsoft Office PowerPoint</Application>
  <PresentationFormat>Widescreen</PresentationFormat>
  <Paragraphs>244</Paragraphs>
  <Slides>28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Arial Black</vt:lpstr>
      <vt:lpstr>Calibri</vt:lpstr>
      <vt:lpstr>Calibri Light</vt:lpstr>
      <vt:lpstr>Century Gothic</vt:lpstr>
      <vt:lpstr>Kantoorthema</vt:lpstr>
      <vt:lpstr>Evaluation of computer-tailored motivational messaging in a health-promotion contex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THODOLO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UL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Jens d'Hondt</dc:creator>
  <cp:lastModifiedBy>d'Hondt, J.E.</cp:lastModifiedBy>
  <cp:revision>3</cp:revision>
  <dcterms:created xsi:type="dcterms:W3CDTF">2019-06-12T13:24:29Z</dcterms:created>
  <dcterms:modified xsi:type="dcterms:W3CDTF">2019-11-24T16:35:48Z</dcterms:modified>
</cp:coreProperties>
</file>